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  <p:sldMasterId id="2147483683" r:id="rId2"/>
    <p:sldMasterId id="2147483695" r:id="rId3"/>
    <p:sldMasterId id="2147483707" r:id="rId4"/>
    <p:sldMasterId id="2147483719" r:id="rId5"/>
    <p:sldMasterId id="2147483730" r:id="rId6"/>
    <p:sldMasterId id="2147483741" r:id="rId7"/>
  </p:sldMasterIdLst>
  <p:notesMasterIdLst>
    <p:notesMasterId r:id="rId21"/>
  </p:notesMasterIdLst>
  <p:handoutMasterIdLst>
    <p:handoutMasterId r:id="rId22"/>
  </p:handoutMasterIdLst>
  <p:sldIdLst>
    <p:sldId id="1421" r:id="rId8"/>
    <p:sldId id="1423" r:id="rId9"/>
    <p:sldId id="1418" r:id="rId10"/>
    <p:sldId id="1337" r:id="rId11"/>
    <p:sldId id="1398" r:id="rId12"/>
    <p:sldId id="1413" r:id="rId13"/>
    <p:sldId id="1414" r:id="rId14"/>
    <p:sldId id="1353" r:id="rId15"/>
    <p:sldId id="1393" r:id="rId16"/>
    <p:sldId id="1412" r:id="rId17"/>
    <p:sldId id="1411" r:id="rId18"/>
    <p:sldId id="1399" r:id="rId19"/>
    <p:sldId id="1416" r:id="rId20"/>
  </p:sldIdLst>
  <p:sldSz cx="9906000" cy="6858000" type="A4"/>
  <p:notesSz cx="6797675" cy="9926638"/>
  <p:custShowLst>
    <p:custShow name="Custom Show 1" id="0">
      <p:sldLst/>
    </p:custShow>
  </p:custShowLst>
  <p:custDataLst>
    <p:tags r:id="rId2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4" userDrawn="1">
          <p15:clr>
            <a:srgbClr val="A4A3A4"/>
          </p15:clr>
        </p15:guide>
        <p15:guide id="12" pos="3165" userDrawn="1">
          <p15:clr>
            <a:srgbClr val="A4A3A4"/>
          </p15:clr>
        </p15:guide>
        <p15:guide id="13" pos="2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00FF"/>
    <a:srgbClr val="D8D8D8"/>
    <a:srgbClr val="FFFFFF"/>
    <a:srgbClr val="FFDA65"/>
    <a:srgbClr val="FFCC00"/>
    <a:srgbClr val="E39913"/>
    <a:srgbClr val="F2F2F2"/>
    <a:srgbClr val="FFFF99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4730" autoAdjust="0"/>
  </p:normalViewPr>
  <p:slideViewPr>
    <p:cSldViewPr>
      <p:cViewPr varScale="1">
        <p:scale>
          <a:sx n="95" d="100"/>
          <a:sy n="95" d="100"/>
        </p:scale>
        <p:origin x="1044" y="68"/>
      </p:cViewPr>
      <p:guideLst>
        <p:guide orient="horz" pos="3974"/>
        <p:guide pos="3165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7"/>
        <p:guide pos="2142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9956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0/24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9956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9956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0/24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7713"/>
            <a:ext cx="5373687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246" y="4716782"/>
            <a:ext cx="5437188" cy="4466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9956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154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b="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9568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10000"/>
              </a:lnSpc>
              <a:spcBef>
                <a:spcPts val="0"/>
              </a:spcBef>
            </a:pP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42093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6040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n-US" sz="11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593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15861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01199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Symbol"/>
              <a:buNone/>
            </a:pPr>
            <a:endParaRPr lang="it-IT" sz="1100" b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3216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en-US" sz="1100" noProof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77062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b="0" i="0" kern="0" baseline="0" noProof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44066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100" b="0" baseline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457200" algn="l"/>
              </a:tabLst>
              <a:defRPr/>
            </a:pPr>
            <a:endParaRPr lang="en-US" sz="1100" b="1" baseline="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18390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15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00348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27682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42249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11337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5342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3939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00099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0289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0217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33429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74861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07007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65495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68869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1060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26769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0805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42042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21808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16543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6494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8201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76623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63515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77609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6497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4461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3521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42150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80249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62507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40375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50606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58520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41577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6524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59768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48556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65936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74360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54367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18364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43595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39523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453701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73564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8657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88425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71720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37351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2114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53919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04870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57425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35966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83102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54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104915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418958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64888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03884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53095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7285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620" y="98320"/>
            <a:ext cx="648000" cy="6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>
                <a:solidFill>
                  <a:srgbClr val="000000"/>
                </a:solidFill>
                <a:latin typeface="Arial"/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16804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>
                <a:solidFill>
                  <a:srgbClr val="000000"/>
                </a:solidFill>
                <a:latin typeface="Arial"/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86786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>
                <a:solidFill>
                  <a:srgbClr val="000000"/>
                </a:solidFill>
                <a:latin typeface="Arial"/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3253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 smtClean="0">
                <a:solidFill>
                  <a:srgbClr val="000000"/>
                </a:solidFill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45452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 smtClean="0">
                <a:solidFill>
                  <a:srgbClr val="000000"/>
                </a:solidFill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43741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 smtClean="0">
                <a:solidFill>
                  <a:srgbClr val="000000"/>
                </a:solidFill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65463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32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jpeg"/><Relationship Id="rId5" Type="http://schemas.openxmlformats.org/officeDocument/2006/relationships/image" Target="../media/image28.png"/><Relationship Id="rId4" Type="http://schemas.openxmlformats.org/officeDocument/2006/relationships/image" Target="../media/image27.jpeg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12" Type="http://schemas.openxmlformats.org/officeDocument/2006/relationships/image" Target="../media/image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5.png"/><Relationship Id="rId5" Type="http://schemas.openxmlformats.org/officeDocument/2006/relationships/image" Target="../media/image20.png"/><Relationship Id="rId10" Type="http://schemas.openxmlformats.org/officeDocument/2006/relationships/image" Target="../media/image24.jpeg"/><Relationship Id="rId4" Type="http://schemas.openxmlformats.org/officeDocument/2006/relationships/image" Target="../media/image19.JPG"/><Relationship Id="rId9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26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jpg"/><Relationship Id="rId11" Type="http://schemas.openxmlformats.org/officeDocument/2006/relationships/image" Target="../media/image41.png"/><Relationship Id="rId5" Type="http://schemas.openxmlformats.org/officeDocument/2006/relationships/image" Target="../media/image29.png"/><Relationship Id="rId10" Type="http://schemas.microsoft.com/office/2007/relationships/hdphoto" Target="../media/hdphoto1.wdp"/><Relationship Id="rId4" Type="http://schemas.openxmlformats.org/officeDocument/2006/relationships/image" Target="../media/image28.png"/><Relationship Id="rId9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gif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7.png"/><Relationship Id="rId5" Type="http://schemas.openxmlformats.org/officeDocument/2006/relationships/image" Target="../media/image12.png"/><Relationship Id="rId10" Type="http://schemas.openxmlformats.org/officeDocument/2006/relationships/image" Target="../media/image16.png"/><Relationship Id="rId4" Type="http://schemas.openxmlformats.org/officeDocument/2006/relationships/image" Target="../media/image11.jpeg"/><Relationship Id="rId9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5.png"/><Relationship Id="rId5" Type="http://schemas.openxmlformats.org/officeDocument/2006/relationships/image" Target="../media/image20.png"/><Relationship Id="rId10" Type="http://schemas.openxmlformats.org/officeDocument/2006/relationships/image" Target="../media/image24.jpeg"/><Relationship Id="rId4" Type="http://schemas.openxmlformats.org/officeDocument/2006/relationships/image" Target="../media/image19.JPG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6.pn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923877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US" sz="36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eans Testing: theory and facts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US" sz="36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The Italian Indicator of “Equivalent Economic Situation” (ISEE)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 - 2016 Training Course “</a:t>
            </a:r>
            <a:r>
              <a:rPr lang="en-US" altLang="zh-CN" sz="1400" i="1" dirty="0">
                <a:latin typeface="Arial" panose="020B0604020202020204" pitchFamily="34" charset="0"/>
                <a:ea typeface="宋体" panose="02010600030101010101" pitchFamily="2" charset="-122"/>
              </a:rPr>
              <a:t>European practices in the Governance, Financial Management and Strategies for a Sustainable Social Security System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3600" dirty="0"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81330" y="6529443"/>
            <a:ext cx="27537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Italy, October</a:t>
            </a:r>
            <a:r>
              <a:rPr lang="pl-PL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16th - 30th</a:t>
            </a:r>
            <a:r>
              <a:rPr lang="pl-PL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pl-PL" altLang="zh-CN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182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44364" y="175566"/>
            <a:ext cx="705697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in details</a:t>
            </a:r>
            <a:endParaRPr lang="en-US" alt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ISEE release with amendments</a:t>
            </a:r>
            <a:endParaRPr lang="it-IT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330200" y="897074"/>
            <a:ext cx="9231313" cy="51508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300"/>
              </a:spcAft>
              <a:buSzPct val="80000"/>
              <a:defRPr/>
            </a:pPr>
            <a:r>
              <a:rPr lang="en-US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igure below shows the </a:t>
            </a:r>
            <a:r>
              <a:rPr lang="en-US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scenarios that might occur after the ISEE Certification release </a:t>
            </a:r>
            <a:r>
              <a:rPr lang="en-US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the citizen reveals mistakes on data of the ISEE Certification and </a:t>
            </a:r>
            <a:r>
              <a:rPr lang="en-US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the citizen can do</a:t>
            </a:r>
          </a:p>
        </p:txBody>
      </p:sp>
      <p:sp>
        <p:nvSpPr>
          <p:cNvPr id="87" name="Triangolo isoscele 16"/>
          <p:cNvSpPr/>
          <p:nvPr/>
        </p:nvSpPr>
        <p:spPr>
          <a:xfrm rot="10800000">
            <a:off x="407066" y="4076774"/>
            <a:ext cx="916885" cy="133450"/>
          </a:xfrm>
          <a:prstGeom prst="triangle">
            <a:avLst/>
          </a:prstGeom>
          <a:solidFill>
            <a:srgbClr val="FF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30908" y="3828747"/>
            <a:ext cx="741240" cy="233397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ctr">
              <a:lnSpc>
                <a:spcPts val="1100"/>
              </a:lnSpc>
            </a:pPr>
            <a:r>
              <a:rPr lang="it-IT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623799" y="3105961"/>
            <a:ext cx="698184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S IN CHARGE</a:t>
            </a:r>
            <a:endParaRPr lang="it-IT" sz="9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Straight Arrow Connector 44"/>
          <p:cNvCxnSpPr>
            <a:stCxn id="51" idx="0"/>
            <a:endCxn id="59" idx="2"/>
          </p:cNvCxnSpPr>
          <p:nvPr/>
        </p:nvCxnSpPr>
        <p:spPr>
          <a:xfrm flipH="1" flipV="1">
            <a:off x="737656" y="2661751"/>
            <a:ext cx="59544" cy="732250"/>
          </a:xfrm>
          <a:prstGeom prst="straightConnector1">
            <a:avLst/>
          </a:prstGeom>
          <a:noFill/>
          <a:ln w="19050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46" name="Straight Arrow Connector 45"/>
          <p:cNvCxnSpPr>
            <a:stCxn id="51" idx="0"/>
            <a:endCxn id="66" idx="2"/>
          </p:cNvCxnSpPr>
          <p:nvPr/>
        </p:nvCxnSpPr>
        <p:spPr>
          <a:xfrm flipV="1">
            <a:off x="797200" y="2952211"/>
            <a:ext cx="932175" cy="441790"/>
          </a:xfrm>
          <a:prstGeom prst="straightConnector1">
            <a:avLst/>
          </a:prstGeom>
          <a:noFill/>
          <a:ln w="19050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47" name="Elbow Connector 46"/>
          <p:cNvCxnSpPr>
            <a:stCxn id="43" idx="2"/>
            <a:endCxn id="51" idx="3"/>
          </p:cNvCxnSpPr>
          <p:nvPr/>
        </p:nvCxnSpPr>
        <p:spPr>
          <a:xfrm rot="5400000">
            <a:off x="1425692" y="3064062"/>
            <a:ext cx="135968" cy="958431"/>
          </a:xfrm>
          <a:prstGeom prst="bentConnector2">
            <a:avLst/>
          </a:prstGeom>
          <a:noFill/>
          <a:ln w="19050" cap="flat" cmpd="sng" algn="ctr">
            <a:solidFill>
              <a:srgbClr val="C00000"/>
            </a:solidFill>
            <a:prstDash val="sysDot"/>
            <a:tailEnd type="arrow"/>
          </a:ln>
          <a:effectLst/>
        </p:spPr>
      </p:cxnSp>
      <p:cxnSp>
        <p:nvCxnSpPr>
          <p:cNvPr id="48" name="Elbow Connector 47"/>
          <p:cNvCxnSpPr>
            <a:stCxn id="59" idx="0"/>
            <a:endCxn id="8" idx="1"/>
          </p:cNvCxnSpPr>
          <p:nvPr/>
        </p:nvCxnSpPr>
        <p:spPr>
          <a:xfrm rot="5400000" flipH="1" flipV="1">
            <a:off x="1659350" y="840119"/>
            <a:ext cx="480028" cy="2323416"/>
          </a:xfrm>
          <a:prstGeom prst="bentConnector2">
            <a:avLst/>
          </a:prstGeom>
          <a:noFill/>
          <a:ln w="19050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49" name="Elbow Connector 48"/>
          <p:cNvCxnSpPr>
            <a:stCxn id="66" idx="0"/>
            <a:endCxn id="8" idx="1"/>
          </p:cNvCxnSpPr>
          <p:nvPr/>
        </p:nvCxnSpPr>
        <p:spPr>
          <a:xfrm rot="5400000" flipH="1" flipV="1">
            <a:off x="2014539" y="1688418"/>
            <a:ext cx="973138" cy="1119928"/>
          </a:xfrm>
          <a:prstGeom prst="bentConnector2">
            <a:avLst/>
          </a:prstGeom>
          <a:noFill/>
          <a:ln w="19050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50" name="Elbow Connector 49"/>
          <p:cNvCxnSpPr>
            <a:stCxn id="8" idx="2"/>
            <a:endCxn id="51" idx="3"/>
          </p:cNvCxnSpPr>
          <p:nvPr/>
        </p:nvCxnSpPr>
        <p:spPr>
          <a:xfrm rot="5400000">
            <a:off x="1392557" y="1687655"/>
            <a:ext cx="1545510" cy="2301703"/>
          </a:xfrm>
          <a:prstGeom prst="bentConnector2">
            <a:avLst/>
          </a:prstGeom>
          <a:noFill/>
          <a:ln w="19050" cap="flat" cmpd="sng" algn="ctr">
            <a:solidFill>
              <a:srgbClr val="C00000"/>
            </a:solidFill>
            <a:prstDash val="sysDot"/>
            <a:tailEnd type="arrow"/>
          </a:ln>
          <a:effectLst/>
        </p:spPr>
      </p:cxnSp>
      <p:pic>
        <p:nvPicPr>
          <p:cNvPr id="51" name="Picture 4" descr="C:\Users\giuseppe.parente\Downloads\MC90043262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40" y="3394001"/>
            <a:ext cx="434520" cy="434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/>
          <p:cNvSpPr txBox="1"/>
          <p:nvPr/>
        </p:nvSpPr>
        <p:spPr>
          <a:xfrm>
            <a:off x="2536830" y="2601891"/>
            <a:ext cx="1514031" cy="69249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90487" algn="ctr" fontAlgn="auto">
              <a:spcBef>
                <a:spcPts val="0"/>
              </a:spcBef>
              <a:spcAft>
                <a:spcPts val="200"/>
              </a:spcAft>
              <a:buClr>
                <a:srgbClr val="008000"/>
              </a:buClr>
              <a:buSzPct val="100000"/>
              <a:defRPr/>
            </a:pPr>
            <a:r>
              <a:rPr lang="it-IT" sz="9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in 2 working day </a:t>
            </a:r>
            <a:r>
              <a:rPr lang="it-IT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data acquisition from the Revenue Agency, INPS calculates the ISEE and releases it to citizen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323952" y="2097821"/>
            <a:ext cx="1251540" cy="498016"/>
          </a:xfrm>
          <a:prstGeom prst="rect">
            <a:avLst/>
          </a:prstGeom>
          <a:solidFill>
            <a:schemeClr val="bg1"/>
          </a:solidFill>
        </p:spPr>
        <p:txBody>
          <a:bodyPr wrap="square" lIns="0" tIns="36000" rIns="0" rtlCol="0">
            <a:spAutoFit/>
          </a:bodyPr>
          <a:lstStyle/>
          <a:p>
            <a:pPr marL="90487" algn="ctr">
              <a:spcAft>
                <a:spcPts val="300"/>
              </a:spcAft>
              <a:buClr>
                <a:srgbClr val="008000"/>
              </a:buClr>
              <a:buSzPct val="100000"/>
              <a:defRPr/>
            </a:pPr>
            <a:r>
              <a:rPr lang="it-IT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SU data trasmission </a:t>
            </a:r>
            <a:r>
              <a:rPr lang="it-IT" sz="9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in 4 working days 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269500" y="1809781"/>
            <a:ext cx="936313" cy="28116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90487" algn="ctr">
              <a:spcAft>
                <a:spcPts val="300"/>
              </a:spcAft>
              <a:buClr>
                <a:srgbClr val="008000"/>
              </a:buClr>
              <a:buSzPct val="100000"/>
              <a:defRPr/>
            </a:pPr>
            <a:r>
              <a:rPr lang="it-IT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SU submit on INPS website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434331" y="2241841"/>
            <a:ext cx="606650" cy="419910"/>
            <a:chOff x="316583" y="2636912"/>
            <a:chExt cx="1056001" cy="864000"/>
          </a:xfrm>
        </p:grpSpPr>
        <p:grpSp>
          <p:nvGrpSpPr>
            <p:cNvPr id="57" name="Group 56"/>
            <p:cNvGrpSpPr>
              <a:grpSpLocks noChangeAspect="1"/>
            </p:cNvGrpSpPr>
            <p:nvPr/>
          </p:nvGrpSpPr>
          <p:grpSpPr>
            <a:xfrm>
              <a:off x="316583" y="2636912"/>
              <a:ext cx="1056001" cy="864000"/>
              <a:chOff x="1186596" y="2735107"/>
              <a:chExt cx="936104" cy="765903"/>
            </a:xfrm>
          </p:grpSpPr>
          <p:pic>
            <p:nvPicPr>
              <p:cNvPr id="59" name="Picture 4" descr="amore,avatar,computer,coppie,cuori,emozioni,frequentarsi,incontri online,incontri su Internet,internet,iStockphoto,romantici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 l="20937" t="18568" r="20911" b="18626"/>
              <a:stretch>
                <a:fillRect/>
              </a:stretch>
            </p:blipFill>
            <p:spPr bwMode="auto">
              <a:xfrm>
                <a:off x="1186596" y="2735107"/>
                <a:ext cx="936104" cy="7659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0" name="TextBox 59"/>
              <p:cNvSpPr txBox="1">
                <a:spLocks noChangeAspect="1"/>
              </p:cNvSpPr>
              <p:nvPr/>
            </p:nvSpPr>
            <p:spPr>
              <a:xfrm rot="180000">
                <a:off x="1308283" y="2826698"/>
                <a:ext cx="683921" cy="4500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/>
                <a:endParaRPr lang="it-IT" sz="9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8" name="Oval 57"/>
            <p:cNvSpPr>
              <a:spLocks/>
            </p:cNvSpPr>
            <p:nvPr/>
          </p:nvSpPr>
          <p:spPr>
            <a:xfrm>
              <a:off x="642624" y="2784600"/>
              <a:ext cx="360000" cy="360000"/>
            </a:xfrm>
            <a:prstGeom prst="ellipse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1" name="TextBox 60"/>
          <p:cNvSpPr txBox="1"/>
          <p:nvPr/>
        </p:nvSpPr>
        <p:spPr>
          <a:xfrm rot="628230">
            <a:off x="628961" y="2943160"/>
            <a:ext cx="828000" cy="221018"/>
          </a:xfrm>
          <a:prstGeom prst="rect">
            <a:avLst/>
          </a:prstGeom>
          <a:solidFill>
            <a:schemeClr val="bg1"/>
          </a:solidFill>
        </p:spPr>
        <p:txBody>
          <a:bodyPr wrap="square" lIns="0" tIns="36000" rIns="0" rtlCol="0">
            <a:spAutoFit/>
          </a:bodyPr>
          <a:lstStyle/>
          <a:p>
            <a:pPr marL="90487">
              <a:spcAft>
                <a:spcPts val="300"/>
              </a:spcAft>
              <a:buClr>
                <a:srgbClr val="008000"/>
              </a:buClr>
              <a:buSzPct val="100000"/>
              <a:defRPr/>
            </a:pPr>
            <a:r>
              <a:rPr lang="it-IT" sz="9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</a:t>
            </a:r>
          </a:p>
        </p:txBody>
      </p:sp>
      <p:pic>
        <p:nvPicPr>
          <p:cNvPr id="66" name="Picture 2" descr="Visualizza dettagli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29375" y="2734951"/>
            <a:ext cx="423538" cy="434520"/>
          </a:xfrm>
          <a:prstGeom prst="ellipse">
            <a:avLst/>
          </a:prstGeom>
          <a:noFill/>
          <a:ln>
            <a:noFill/>
          </a:ln>
        </p:spPr>
      </p:pic>
      <p:cxnSp>
        <p:nvCxnSpPr>
          <p:cNvPr id="67" name="Straight Arrow Connector 66"/>
          <p:cNvCxnSpPr>
            <a:stCxn id="52" idx="1"/>
            <a:endCxn id="66" idx="6"/>
          </p:cNvCxnSpPr>
          <p:nvPr/>
        </p:nvCxnSpPr>
        <p:spPr>
          <a:xfrm flipH="1">
            <a:off x="2152913" y="2948140"/>
            <a:ext cx="383917" cy="4071"/>
          </a:xfrm>
          <a:prstGeom prst="straightConnector1">
            <a:avLst/>
          </a:prstGeom>
          <a:noFill/>
          <a:ln w="19050" cap="flat" cmpd="sng" algn="ctr">
            <a:solidFill>
              <a:srgbClr val="C00000"/>
            </a:solidFill>
            <a:prstDash val="sysDot"/>
            <a:tailEnd type="arrow"/>
          </a:ln>
          <a:effectLst/>
        </p:spPr>
      </p:cxnSp>
      <p:cxnSp>
        <p:nvCxnSpPr>
          <p:cNvPr id="71" name="Straight Arrow Connector 70"/>
          <p:cNvCxnSpPr>
            <a:stCxn id="8" idx="3"/>
            <a:endCxn id="14" idx="1"/>
          </p:cNvCxnSpPr>
          <p:nvPr/>
        </p:nvCxnSpPr>
        <p:spPr>
          <a:xfrm flipV="1">
            <a:off x="3571254" y="1758342"/>
            <a:ext cx="479607" cy="3471"/>
          </a:xfrm>
          <a:prstGeom prst="straightConnector1">
            <a:avLst/>
          </a:prstGeom>
          <a:noFill/>
          <a:ln w="19050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73" name="Elbow Connector 72"/>
          <p:cNvCxnSpPr>
            <a:stCxn id="14" idx="2"/>
            <a:endCxn id="19" idx="2"/>
          </p:cNvCxnSpPr>
          <p:nvPr/>
        </p:nvCxnSpPr>
        <p:spPr>
          <a:xfrm rot="5400000" flipH="1">
            <a:off x="3811936" y="1519417"/>
            <a:ext cx="121577" cy="916099"/>
          </a:xfrm>
          <a:prstGeom prst="bentConnector3">
            <a:avLst>
              <a:gd name="adj1" fmla="val -188029"/>
            </a:avLst>
          </a:prstGeom>
          <a:noFill/>
          <a:ln w="19050" cap="flat" cmpd="sng" algn="ctr">
            <a:solidFill>
              <a:srgbClr val="C00000"/>
            </a:solidFill>
            <a:prstDash val="sysDot"/>
            <a:tailEnd type="arrow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61072" y="1457875"/>
            <a:ext cx="510182" cy="60787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50861" y="1478429"/>
            <a:ext cx="559825" cy="559825"/>
          </a:xfrm>
          <a:prstGeom prst="rect">
            <a:avLst/>
          </a:prstGeom>
        </p:spPr>
      </p:pic>
      <p:sp>
        <p:nvSpPr>
          <p:cNvPr id="19" name="Rectangle 18"/>
          <p:cNvSpPr/>
          <p:nvPr/>
        </p:nvSpPr>
        <p:spPr>
          <a:xfrm>
            <a:off x="3306660" y="1608254"/>
            <a:ext cx="216030" cy="30842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8" name="Rectangle 27"/>
          <p:cNvSpPr/>
          <p:nvPr/>
        </p:nvSpPr>
        <p:spPr>
          <a:xfrm>
            <a:off x="344488" y="1412720"/>
            <a:ext cx="4320596" cy="2597778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grpSp>
        <p:nvGrpSpPr>
          <p:cNvPr id="32" name="Group 31"/>
          <p:cNvGrpSpPr/>
          <p:nvPr/>
        </p:nvGrpSpPr>
        <p:grpSpPr>
          <a:xfrm>
            <a:off x="451508" y="4498264"/>
            <a:ext cx="828000" cy="1074311"/>
            <a:chOff x="4850860" y="3457552"/>
            <a:chExt cx="828000" cy="1074311"/>
          </a:xfrm>
        </p:grpSpPr>
        <p:pic>
          <p:nvPicPr>
            <p:cNvPr id="88" name="Picture 4" descr="C:\Users\giuseppe.parente\Downloads\MC900432624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15480" y="3463487"/>
              <a:ext cx="612000" cy="61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1" name="TextBox 90"/>
            <p:cNvSpPr txBox="1"/>
            <p:nvPr/>
          </p:nvSpPr>
          <p:spPr>
            <a:xfrm>
              <a:off x="4850860" y="4063863"/>
              <a:ext cx="828000" cy="46800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it-IT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ITIZEN DETECT MISTAKES</a:t>
              </a:r>
            </a:p>
          </p:txBody>
        </p:sp>
        <p:sp>
          <p:nvSpPr>
            <p:cNvPr id="92" name="Oval 91"/>
            <p:cNvSpPr>
              <a:spLocks noChangeAspect="1"/>
            </p:cNvSpPr>
            <p:nvPr/>
          </p:nvSpPr>
          <p:spPr>
            <a:xfrm>
              <a:off x="5308199" y="3457552"/>
              <a:ext cx="164788" cy="144000"/>
            </a:xfrm>
            <a:prstGeom prst="ellipse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0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!</a:t>
              </a:r>
            </a:p>
          </p:txBody>
        </p:sp>
      </p:grpSp>
      <p:sp>
        <p:nvSpPr>
          <p:cNvPr id="31" name="Rectangle 30"/>
          <p:cNvSpPr/>
          <p:nvPr/>
        </p:nvSpPr>
        <p:spPr>
          <a:xfrm>
            <a:off x="1622960" y="4159573"/>
            <a:ext cx="1440000" cy="86400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20000"/>
              </a:lnSpc>
            </a:pP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TAKES ON </a:t>
            </a:r>
            <a:r>
              <a:rPr lang="it-IT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F-CERTIFIED DATA</a:t>
            </a:r>
          </a:p>
        </p:txBody>
      </p:sp>
      <p:sp>
        <p:nvSpPr>
          <p:cNvPr id="95" name="Rectangle 94"/>
          <p:cNvSpPr/>
          <p:nvPr/>
        </p:nvSpPr>
        <p:spPr>
          <a:xfrm>
            <a:off x="1622960" y="5146354"/>
            <a:ext cx="1440000" cy="864000"/>
          </a:xfrm>
          <a:prstGeom prst="rect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>
              <a:lnSpc>
                <a:spcPct val="120000"/>
              </a:lnSpc>
            </a:pP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STAKES ON </a:t>
            </a:r>
            <a:r>
              <a:rPr lang="it-IT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 SELF-CERTIFIED DATA</a:t>
            </a:r>
          </a:p>
        </p:txBody>
      </p:sp>
      <p:sp>
        <p:nvSpPr>
          <p:cNvPr id="96" name="TextBox 23"/>
          <p:cNvSpPr txBox="1">
            <a:spLocks noChangeArrowheads="1"/>
          </p:cNvSpPr>
          <p:nvPr/>
        </p:nvSpPr>
        <p:spPr bwMode="auto">
          <a:xfrm>
            <a:off x="3251363" y="4159573"/>
            <a:ext cx="6220559" cy="864000"/>
          </a:xfrm>
          <a:prstGeom prst="rect">
            <a:avLst/>
          </a:prstGeom>
          <a:noFill/>
          <a:ln w="12700" cap="flat" cmpd="sng" algn="ctr">
            <a:solidFill>
              <a:srgbClr val="0000FF"/>
            </a:solidFill>
            <a:prstDash val="solid"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300"/>
              </a:spcAft>
              <a:buSzPct val="80000"/>
              <a:defRPr/>
            </a:pPr>
            <a:r>
              <a:rPr lang="en-US" sz="14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itizen may transmit corrections submitting a new DSU</a:t>
            </a:r>
            <a:r>
              <a:rPr lang="en-US" sz="14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The new DSU, with amended data, cancels the previous one and, through the same work-flow, the citizen </a:t>
            </a:r>
            <a:r>
              <a:rPr lang="en-US" sz="14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receive the new rectified ISEE Certification</a:t>
            </a:r>
          </a:p>
        </p:txBody>
      </p:sp>
      <p:sp>
        <p:nvSpPr>
          <p:cNvPr id="97" name="TextBox 23"/>
          <p:cNvSpPr txBox="1">
            <a:spLocks noChangeArrowheads="1"/>
          </p:cNvSpPr>
          <p:nvPr/>
        </p:nvSpPr>
        <p:spPr bwMode="auto">
          <a:xfrm>
            <a:off x="3251363" y="5152744"/>
            <a:ext cx="6220559" cy="864000"/>
          </a:xfrm>
          <a:prstGeom prst="rect">
            <a:avLst/>
          </a:prstGeom>
          <a:noFill/>
          <a:ln w="12700" cap="flat" cmpd="sng" algn="ctr">
            <a:solidFill>
              <a:srgbClr val="0000FF"/>
            </a:solidFill>
            <a:prstDash val="solid"/>
          </a:ln>
          <a:effectLst/>
        </p:spPr>
        <p:txBody>
          <a:bodyPr lIns="36000" tIns="36000" rIns="36000" bIns="36000" rtlCol="0" anchor="ctr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300"/>
              </a:spcAft>
              <a:buSzPct val="80000"/>
              <a:defRPr/>
            </a:pPr>
            <a:r>
              <a:rPr lang="en-US" sz="14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itizen may challenge the </a:t>
            </a:r>
            <a:r>
              <a:rPr lang="en-US" sz="14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cquired by INPS and Revenue Agency</a:t>
            </a:r>
            <a:r>
              <a:rPr lang="en-US" sz="14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nd may self-certifies them. </a:t>
            </a:r>
            <a:r>
              <a:rPr lang="en-US" sz="14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itizen will receive a new ISEE Certification with evidence of the amended data</a:t>
            </a:r>
          </a:p>
        </p:txBody>
      </p:sp>
    </p:spTree>
    <p:extLst>
      <p:ext uri="{BB962C8B-B14F-4D97-AF65-F5344CB8AC3E}">
        <p14:creationId xmlns:p14="http://schemas.microsoft.com/office/powerpoint/2010/main" val="82873929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TextBox 108"/>
          <p:cNvSpPr txBox="1"/>
          <p:nvPr/>
        </p:nvSpPr>
        <p:spPr>
          <a:xfrm>
            <a:off x="344489" y="5805330"/>
            <a:ext cx="921715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veral controls are carried out in order to identify frauds attempts and to use only real information to calculate the indicators 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23"/>
          <p:cNvSpPr txBox="1">
            <a:spLocks noChangeArrowheads="1"/>
          </p:cNvSpPr>
          <p:nvPr/>
        </p:nvSpPr>
        <p:spPr bwMode="auto">
          <a:xfrm>
            <a:off x="342610" y="897074"/>
            <a:ext cx="9218903" cy="36005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300"/>
              </a:spcAft>
              <a:buSzPct val="80000"/>
              <a:defRPr/>
            </a:pP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the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 flows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ed to provide INPS the necessary data to calculate ISEE are </a:t>
            </a:r>
            <a:r>
              <a:rPr lang="en-US" sz="2000" i="0" u="sng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tally digitalized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paper forms are used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9" name="Line Callout 1 (No Border) 8"/>
          <p:cNvSpPr/>
          <p:nvPr/>
        </p:nvSpPr>
        <p:spPr>
          <a:xfrm>
            <a:off x="5840566" y="4091063"/>
            <a:ext cx="1944000" cy="900000"/>
          </a:xfrm>
          <a:prstGeom prst="callout1">
            <a:avLst>
              <a:gd name="adj1" fmla="val -7640"/>
              <a:gd name="adj2" fmla="val 44805"/>
              <a:gd name="adj3" fmla="val -117766"/>
              <a:gd name="adj4" fmla="val 46020"/>
            </a:avLst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it-IT" sz="1200" b="1" i="1" u="sng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MITED TO AUTOMATIC CONTROLS: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me data 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-deducible expenses amount 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44364" y="175566"/>
            <a:ext cx="705697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in details</a:t>
            </a:r>
            <a:endParaRPr lang="en-US" alt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ISEE information and controls system</a:t>
            </a:r>
            <a:endParaRPr lang="it-IT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riangolo isoscele 16"/>
          <p:cNvSpPr/>
          <p:nvPr/>
        </p:nvSpPr>
        <p:spPr>
          <a:xfrm rot="10800000">
            <a:off x="2986166" y="5577565"/>
            <a:ext cx="3933669" cy="180000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4" descr="C:\Users\giuseppe.parente\AppData\Local\Microsoft\Windows\Temporary Internet Files\Content.IE5\Z6ST9GPL\MC900432623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241234" y="2285656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29" y="3193048"/>
            <a:ext cx="612000" cy="612000"/>
          </a:xfrm>
          <a:prstGeom prst="rect">
            <a:avLst/>
          </a:prstGeom>
        </p:spPr>
      </p:pic>
      <p:pic>
        <p:nvPicPr>
          <p:cNvPr id="14" name="Picture 2" descr="C:\Users\giuseppe.parente\AppData\Local\Microsoft\Windows\Temporary Internet Files\Content.IE5\H5MUTRNN\MC900432657[1]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470" y="3193048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C:\Users\giuseppe.parente\AppData\Local\Microsoft\Windows\Temporary Internet Files\Content.IE5\4BJ7GADN\MC900432626[1].png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30553" y="3193048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C:\Users\giuseppe.parente\AppData\Local\Microsoft\Windows\Temporary Internet Files\Content.IE5\L9EU4F2O\MC900434888[1]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64" y="2285656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342610" y="1603274"/>
            <a:ext cx="1836000" cy="2473200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BENEFITS APPLICANTS</a:t>
            </a:r>
          </a:p>
        </p:txBody>
      </p:sp>
      <p:pic>
        <p:nvPicPr>
          <p:cNvPr id="18" name="Picture 1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00301" y="1642693"/>
            <a:ext cx="857243" cy="72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9" name="Rectangle 18"/>
          <p:cNvSpPr/>
          <p:nvPr/>
        </p:nvSpPr>
        <p:spPr>
          <a:xfrm>
            <a:off x="4040277" y="1603274"/>
            <a:ext cx="1836000" cy="2473200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</a:t>
            </a:r>
          </a:p>
          <a:p>
            <a:pPr algn="ctr"/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60894" y="2825754"/>
            <a:ext cx="994767" cy="747266"/>
          </a:xfrm>
          <a:prstGeom prst="rect">
            <a:avLst/>
          </a:prstGeom>
        </p:spPr>
      </p:pic>
      <p:sp>
        <p:nvSpPr>
          <p:cNvPr id="21" name="Rectangle 20"/>
          <p:cNvSpPr/>
          <p:nvPr/>
        </p:nvSpPr>
        <p:spPr>
          <a:xfrm>
            <a:off x="5179081" y="2827802"/>
            <a:ext cx="216000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2" name="Rectangle 21"/>
          <p:cNvSpPr/>
          <p:nvPr/>
        </p:nvSpPr>
        <p:spPr>
          <a:xfrm>
            <a:off x="4797257" y="2827802"/>
            <a:ext cx="216000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23" name="Picture 4" descr="http://www.dagospia.com/img/foto/05-2012/logo-agenzia-delle-164554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2" t="10057" r="4507" b="14449"/>
          <a:stretch/>
        </p:blipFill>
        <p:spPr bwMode="auto">
          <a:xfrm>
            <a:off x="7808282" y="1682886"/>
            <a:ext cx="1160055" cy="443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7737943" y="1603274"/>
            <a:ext cx="1836000" cy="2473200"/>
          </a:xfrm>
          <a:prstGeom prst="rect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85725" lvl="1" algn="ctr">
              <a:lnSpc>
                <a:spcPct val="80000"/>
              </a:lnSpc>
              <a:spcAft>
                <a:spcPts val="0"/>
              </a:spcAft>
              <a:buClr>
                <a:srgbClr val="FFD200"/>
              </a:buClr>
              <a:buSzPct val="80000"/>
            </a:pPr>
            <a:r>
              <a:rPr lang="en-GB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VENUE AGENCY DATABASE</a:t>
            </a: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25405" y="2468161"/>
            <a:ext cx="661076" cy="661076"/>
          </a:xfrm>
          <a:prstGeom prst="rect">
            <a:avLst/>
          </a:prstGeom>
        </p:spPr>
      </p:pic>
      <p:cxnSp>
        <p:nvCxnSpPr>
          <p:cNvPr id="26" name="Elbow Connector 25"/>
          <p:cNvCxnSpPr>
            <a:stCxn id="28" idx="3"/>
            <a:endCxn id="22" idx="0"/>
          </p:cNvCxnSpPr>
          <p:nvPr/>
        </p:nvCxnSpPr>
        <p:spPr>
          <a:xfrm>
            <a:off x="2178610" y="2654489"/>
            <a:ext cx="2726647" cy="173313"/>
          </a:xfrm>
          <a:prstGeom prst="bentConnector2">
            <a:avLst/>
          </a:prstGeom>
          <a:ln w="190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/>
        </p:nvSpPr>
        <p:spPr>
          <a:xfrm>
            <a:off x="2448501" y="2276840"/>
            <a:ext cx="1321884" cy="851136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dash"/>
          </a:ln>
        </p:spPr>
        <p:txBody>
          <a:bodyPr wrap="square" lIns="0" tIns="72000" rIns="0" bIns="72000" rtlCol="0">
            <a:noAutofit/>
          </a:bodyPr>
          <a:lstStyle/>
          <a:p>
            <a:pPr algn="ctr"/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sets and household data necessary to calculate ISEE</a:t>
            </a:r>
          </a:p>
        </p:txBody>
      </p:sp>
      <p:sp>
        <p:nvSpPr>
          <p:cNvPr id="28" name="Rectangle 27"/>
          <p:cNvSpPr/>
          <p:nvPr/>
        </p:nvSpPr>
        <p:spPr>
          <a:xfrm>
            <a:off x="1962610" y="2546489"/>
            <a:ext cx="216000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cxnSp>
        <p:nvCxnSpPr>
          <p:cNvPr id="29" name="Elbow Connector 28"/>
          <p:cNvCxnSpPr>
            <a:stCxn id="31" idx="1"/>
            <a:endCxn id="21" idx="0"/>
          </p:cNvCxnSpPr>
          <p:nvPr/>
        </p:nvCxnSpPr>
        <p:spPr>
          <a:xfrm rot="10800000" flipV="1">
            <a:off x="5287082" y="2654488"/>
            <a:ext cx="3050419" cy="173313"/>
          </a:xfrm>
          <a:prstGeom prst="bentConnector2">
            <a:avLst/>
          </a:prstGeom>
          <a:ln w="19050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6226759" y="2332822"/>
            <a:ext cx="1160703" cy="710980"/>
          </a:xfrm>
          <a:prstGeom prst="rect">
            <a:avLst/>
          </a:prstGeom>
          <a:solidFill>
            <a:schemeClr val="bg1"/>
          </a:solidFill>
          <a:ln w="19050">
            <a:solidFill>
              <a:srgbClr val="FF0000"/>
            </a:solidFill>
            <a:prstDash val="dash"/>
          </a:ln>
        </p:spPr>
        <p:txBody>
          <a:bodyPr wrap="square" lIns="72000" tIns="72000" rIns="0" bIns="72000" rtlCol="0">
            <a:noAutofit/>
          </a:bodyPr>
          <a:lstStyle>
            <a:defPPr>
              <a:defRPr lang="en-US"/>
            </a:defPPr>
            <a:lvl1pPr algn="ctr">
              <a:defRPr sz="1200" b="1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it-IT" dirty="0"/>
              <a:t>Income data necessary to calculate ISEE</a:t>
            </a:r>
          </a:p>
        </p:txBody>
      </p:sp>
      <p:sp>
        <p:nvSpPr>
          <p:cNvPr id="31" name="Rectangle 30"/>
          <p:cNvSpPr/>
          <p:nvPr/>
        </p:nvSpPr>
        <p:spPr>
          <a:xfrm>
            <a:off x="8337500" y="2546489"/>
            <a:ext cx="216000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4" name="Rectangle 33"/>
          <p:cNvSpPr/>
          <p:nvPr/>
        </p:nvSpPr>
        <p:spPr>
          <a:xfrm>
            <a:off x="1962610" y="3285010"/>
            <a:ext cx="216000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5" name="Line Callout 1 (No Border) 34"/>
          <p:cNvSpPr/>
          <p:nvPr/>
        </p:nvSpPr>
        <p:spPr>
          <a:xfrm>
            <a:off x="2132887" y="4091063"/>
            <a:ext cx="1944000" cy="1305653"/>
          </a:xfrm>
          <a:prstGeom prst="callout1">
            <a:avLst>
              <a:gd name="adj1" fmla="val -4296"/>
              <a:gd name="adj2" fmla="val 43685"/>
              <a:gd name="adj3" fmla="val -72618"/>
              <a:gd name="adj4" fmla="val 49042"/>
            </a:avLst>
          </a:prstGeom>
          <a:noFill/>
          <a:ln w="1905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/>
            <a:r>
              <a:rPr lang="en-US" sz="1200" b="1" i="1" u="sng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BMITED TO AUTOMATIC CONTROLS: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 data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 of assets and their value 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 </a:t>
            </a:r>
            <a:r>
              <a:rPr lang="en-US" sz="1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stence</a:t>
            </a: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the </a:t>
            </a:r>
            <a:r>
              <a:rPr lang="en-US" sz="1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hold’s member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12"/>
          <a:srcRect l="50000" t="21047" r="2900" b="22655"/>
          <a:stretch/>
        </p:blipFill>
        <p:spPr>
          <a:xfrm>
            <a:off x="2260672" y="2119425"/>
            <a:ext cx="361029" cy="32400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 rotWithShape="1">
          <a:blip r:embed="rId12"/>
          <a:srcRect l="50000" t="21047" r="2900" b="22655"/>
          <a:stretch/>
        </p:blipFill>
        <p:spPr>
          <a:xfrm>
            <a:off x="6021894" y="2155148"/>
            <a:ext cx="361029" cy="324000"/>
          </a:xfrm>
          <a:prstGeom prst="rect">
            <a:avLst/>
          </a:prstGeom>
        </p:spPr>
      </p:pic>
      <p:cxnSp>
        <p:nvCxnSpPr>
          <p:cNvPr id="38" name="Elbow Connector 37"/>
          <p:cNvCxnSpPr>
            <a:stCxn id="19" idx="2"/>
            <a:endCxn id="17" idx="2"/>
          </p:cNvCxnSpPr>
          <p:nvPr/>
        </p:nvCxnSpPr>
        <p:spPr>
          <a:xfrm rot="5400000">
            <a:off x="3109444" y="2227641"/>
            <a:ext cx="12700" cy="3697667"/>
          </a:xfrm>
          <a:prstGeom prst="bentConnector3">
            <a:avLst>
              <a:gd name="adj1" fmla="val 11030795"/>
            </a:avLst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925183" y="4768449"/>
            <a:ext cx="65017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EE</a:t>
            </a:r>
          </a:p>
        </p:txBody>
      </p:sp>
    </p:spTree>
    <p:extLst>
      <p:ext uri="{BB962C8B-B14F-4D97-AF65-F5344CB8AC3E}">
        <p14:creationId xmlns:p14="http://schemas.microsoft.com/office/powerpoint/2010/main" val="32109201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44364" y="175566"/>
            <a:ext cx="705697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in details</a:t>
            </a:r>
            <a:endParaRPr lang="en-US" alt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ISEE Certification</a:t>
            </a:r>
            <a:endParaRPr lang="it-IT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egnaposto contenuto 2"/>
          <p:cNvSpPr txBox="1">
            <a:spLocks/>
          </p:cNvSpPr>
          <p:nvPr/>
        </p:nvSpPr>
        <p:spPr>
          <a:xfrm>
            <a:off x="5759843" y="4350498"/>
            <a:ext cx="3801669" cy="1173033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008000"/>
              </a:buClr>
              <a:buSzPct val="80000"/>
              <a:buNone/>
              <a:defRPr/>
            </a:pP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 calculation method </a:t>
            </a:r>
            <a:r>
              <a:rPr lang="en-US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intermediate data, such as </a:t>
            </a: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R</a:t>
            </a:r>
            <a:r>
              <a:rPr lang="en-US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P </a:t>
            </a:r>
            <a:r>
              <a:rPr lang="en-US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valence Scale Parameter</a:t>
            </a:r>
            <a:endParaRPr lang="it-IT" sz="12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egnaposto contenuto 2"/>
          <p:cNvSpPr txBox="1">
            <a:spLocks/>
          </p:cNvSpPr>
          <p:nvPr/>
        </p:nvSpPr>
        <p:spPr>
          <a:xfrm>
            <a:off x="5759843" y="5935149"/>
            <a:ext cx="3801669" cy="20512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008000"/>
              </a:buClr>
              <a:buSzPct val="80000"/>
              <a:buNone/>
              <a:defRPr/>
            </a:pP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iod of certificate validity</a:t>
            </a:r>
            <a:endParaRPr lang="it-IT" sz="12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AutoShape 24"/>
          <p:cNvSpPr>
            <a:spLocks noChangeArrowheads="1"/>
          </p:cNvSpPr>
          <p:nvPr/>
        </p:nvSpPr>
        <p:spPr bwMode="auto">
          <a:xfrm rot="5400000">
            <a:off x="5406127" y="1845821"/>
            <a:ext cx="540000" cy="78069"/>
          </a:xfrm>
          <a:prstGeom prst="triangle">
            <a:avLst>
              <a:gd name="adj" fmla="val 48889"/>
            </a:avLst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t-IT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Segnaposto contenuto 2"/>
          <p:cNvSpPr txBox="1">
            <a:spLocks/>
          </p:cNvSpPr>
          <p:nvPr/>
        </p:nvSpPr>
        <p:spPr>
          <a:xfrm>
            <a:off x="5759843" y="1494255"/>
            <a:ext cx="3801669" cy="781200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008000"/>
              </a:buClr>
              <a:buSzPct val="80000"/>
              <a:buNone/>
              <a:defRPr/>
            </a:pPr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hold of reference </a:t>
            </a:r>
            <a:r>
              <a:rPr lang="en-US" sz="1200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the ISEE calculation and, for each members, </a:t>
            </a:r>
            <a:r>
              <a:rPr lang="en-US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relationship with the applicant </a:t>
            </a:r>
          </a:p>
        </p:txBody>
      </p:sp>
      <p:sp>
        <p:nvSpPr>
          <p:cNvPr id="9" name="AutoShape 24"/>
          <p:cNvSpPr>
            <a:spLocks noChangeArrowheads="1"/>
          </p:cNvSpPr>
          <p:nvPr/>
        </p:nvSpPr>
        <p:spPr bwMode="auto">
          <a:xfrm rot="5400000">
            <a:off x="5550127" y="2345484"/>
            <a:ext cx="252000" cy="78069"/>
          </a:xfrm>
          <a:prstGeom prst="triangle">
            <a:avLst>
              <a:gd name="adj" fmla="val 48889"/>
            </a:avLst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t-IT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Segnaposto contenuto 2"/>
          <p:cNvSpPr txBox="1">
            <a:spLocks/>
          </p:cNvSpPr>
          <p:nvPr/>
        </p:nvSpPr>
        <p:spPr>
          <a:xfrm>
            <a:off x="5759843" y="2281958"/>
            <a:ext cx="3801669" cy="20512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008000"/>
              </a:buClr>
              <a:buSzPct val="80000"/>
              <a:buNone/>
              <a:defRPr/>
            </a:pPr>
            <a:r>
              <a:rPr lang="it-IT" sz="1200" b="1" dirty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 value</a:t>
            </a:r>
          </a:p>
        </p:txBody>
      </p:sp>
      <p:sp>
        <p:nvSpPr>
          <p:cNvPr id="11" name="AutoShape 24"/>
          <p:cNvSpPr>
            <a:spLocks noChangeArrowheads="1"/>
          </p:cNvSpPr>
          <p:nvPr/>
        </p:nvSpPr>
        <p:spPr bwMode="auto">
          <a:xfrm rot="5400000">
            <a:off x="4992127" y="4897980"/>
            <a:ext cx="1368000" cy="78069"/>
          </a:xfrm>
          <a:prstGeom prst="triangle">
            <a:avLst>
              <a:gd name="adj" fmla="val 48889"/>
            </a:avLst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t-IT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AutoShape 24"/>
          <p:cNvSpPr>
            <a:spLocks noChangeArrowheads="1"/>
          </p:cNvSpPr>
          <p:nvPr/>
        </p:nvSpPr>
        <p:spPr bwMode="auto">
          <a:xfrm rot="5400000">
            <a:off x="5226127" y="3145572"/>
            <a:ext cx="900000" cy="78069"/>
          </a:xfrm>
          <a:prstGeom prst="triangle">
            <a:avLst>
              <a:gd name="adj" fmla="val 48889"/>
            </a:avLst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t-IT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Segnaposto contenuto 2"/>
          <p:cNvSpPr txBox="1">
            <a:spLocks/>
          </p:cNvSpPr>
          <p:nvPr/>
        </p:nvSpPr>
        <p:spPr>
          <a:xfrm>
            <a:off x="5759843" y="2842621"/>
            <a:ext cx="3801669" cy="683971"/>
          </a:xfrm>
          <a:prstGeom prst="rect">
            <a:avLst/>
          </a:prstGeom>
          <a:noFill/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 fontAlgn="auto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008000"/>
              </a:buClr>
              <a:buSzPct val="80000"/>
              <a:buNone/>
              <a:defRPr/>
            </a:pP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benefits to which it is possible to access and the specific beneficiary</a:t>
            </a:r>
            <a:endParaRPr lang="it-IT" sz="1200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/>
          <a:srcRect l="32045" t="16399" r="29682" b="16399"/>
          <a:stretch/>
        </p:blipFill>
        <p:spPr>
          <a:xfrm>
            <a:off x="356210" y="1168290"/>
            <a:ext cx="5203662" cy="5139419"/>
          </a:xfrm>
          <a:prstGeom prst="rect">
            <a:avLst/>
          </a:prstGeom>
          <a:ln>
            <a:solidFill>
              <a:srgbClr val="000000"/>
            </a:solidFill>
          </a:ln>
        </p:spPr>
      </p:pic>
      <p:sp>
        <p:nvSpPr>
          <p:cNvPr id="15" name="AutoShape 24"/>
          <p:cNvSpPr>
            <a:spLocks noChangeArrowheads="1"/>
          </p:cNvSpPr>
          <p:nvPr/>
        </p:nvSpPr>
        <p:spPr bwMode="auto">
          <a:xfrm rot="5400000">
            <a:off x="5406127" y="5998675"/>
            <a:ext cx="540000" cy="78069"/>
          </a:xfrm>
          <a:prstGeom prst="triangle">
            <a:avLst>
              <a:gd name="adj" fmla="val 48889"/>
            </a:avLst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t-IT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554595" y="1752930"/>
            <a:ext cx="2736380" cy="326930"/>
          </a:xfrm>
          <a:prstGeom prst="rect">
            <a:avLst/>
          </a:prstGeom>
          <a:pattFill prst="ltUpDiag">
            <a:fgClr>
              <a:schemeClr val="accent1"/>
            </a:fgClr>
            <a:bgClr>
              <a:srgbClr val="FFFFFF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2" name="Rectangle 21"/>
          <p:cNvSpPr/>
          <p:nvPr/>
        </p:nvSpPr>
        <p:spPr>
          <a:xfrm>
            <a:off x="404433" y="1470392"/>
            <a:ext cx="1332000" cy="78667"/>
          </a:xfrm>
          <a:prstGeom prst="rect">
            <a:avLst/>
          </a:prstGeom>
          <a:pattFill prst="ltUpDiag">
            <a:fgClr>
              <a:schemeClr val="accent1"/>
            </a:fgClr>
            <a:bgClr>
              <a:srgbClr val="FFFFFF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3" name="Rectangle 22"/>
          <p:cNvSpPr/>
          <p:nvPr/>
        </p:nvSpPr>
        <p:spPr>
          <a:xfrm>
            <a:off x="3503188" y="3175997"/>
            <a:ext cx="801722" cy="99882"/>
          </a:xfrm>
          <a:prstGeom prst="rect">
            <a:avLst/>
          </a:prstGeom>
          <a:pattFill prst="ltUpDiag">
            <a:fgClr>
              <a:schemeClr val="accent1"/>
            </a:fgClr>
            <a:bgClr>
              <a:srgbClr val="FFFFFF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4" name="Rectangle 23"/>
          <p:cNvSpPr/>
          <p:nvPr/>
        </p:nvSpPr>
        <p:spPr>
          <a:xfrm>
            <a:off x="3368780" y="3048931"/>
            <a:ext cx="720000" cy="99882"/>
          </a:xfrm>
          <a:prstGeom prst="rect">
            <a:avLst/>
          </a:prstGeom>
          <a:pattFill prst="ltUpDiag">
            <a:fgClr>
              <a:schemeClr val="accent1"/>
            </a:fgClr>
            <a:bgClr>
              <a:srgbClr val="FFFFFF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5" name="Rectangle 24"/>
          <p:cNvSpPr/>
          <p:nvPr/>
        </p:nvSpPr>
        <p:spPr>
          <a:xfrm>
            <a:off x="2146770" y="5932690"/>
            <a:ext cx="468000" cy="99882"/>
          </a:xfrm>
          <a:prstGeom prst="rect">
            <a:avLst/>
          </a:prstGeom>
          <a:pattFill prst="ltUpDiag">
            <a:fgClr>
              <a:schemeClr val="accent1"/>
            </a:fgClr>
            <a:bgClr>
              <a:srgbClr val="FFFFFF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6" name="TextBox 23"/>
          <p:cNvSpPr txBox="1">
            <a:spLocks noChangeArrowheads="1"/>
          </p:cNvSpPr>
          <p:nvPr/>
        </p:nvSpPr>
        <p:spPr bwMode="auto">
          <a:xfrm>
            <a:off x="330200" y="897074"/>
            <a:ext cx="9231313" cy="23795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300"/>
              </a:spcAft>
              <a:buSzPct val="80000"/>
              <a:defRPr/>
            </a:pPr>
            <a:r>
              <a:rPr lang="en-US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ollowing picture exemplifies the ISEE Certificate released to applicants citizens from INPS</a:t>
            </a:r>
          </a:p>
        </p:txBody>
      </p:sp>
      <p:sp>
        <p:nvSpPr>
          <p:cNvPr id="27" name="Rectangle 26"/>
          <p:cNvSpPr/>
          <p:nvPr/>
        </p:nvSpPr>
        <p:spPr>
          <a:xfrm>
            <a:off x="3944860" y="1196690"/>
            <a:ext cx="1044000" cy="78667"/>
          </a:xfrm>
          <a:prstGeom prst="rect">
            <a:avLst/>
          </a:prstGeom>
          <a:pattFill prst="ltUpDiag">
            <a:fgClr>
              <a:schemeClr val="accent1"/>
            </a:fgClr>
            <a:bgClr>
              <a:srgbClr val="FFFFFF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grpSp>
        <p:nvGrpSpPr>
          <p:cNvPr id="31" name="Group 30"/>
          <p:cNvGrpSpPr/>
          <p:nvPr/>
        </p:nvGrpSpPr>
        <p:grpSpPr>
          <a:xfrm>
            <a:off x="4232900" y="1116080"/>
            <a:ext cx="1368190" cy="920666"/>
            <a:chOff x="4232900" y="1116080"/>
            <a:chExt cx="1368190" cy="920666"/>
          </a:xfrm>
        </p:grpSpPr>
        <p:sp>
          <p:nvSpPr>
            <p:cNvPr id="29" name="Segnaposto contenuto 2"/>
            <p:cNvSpPr txBox="1">
              <a:spLocks/>
            </p:cNvSpPr>
            <p:nvPr/>
          </p:nvSpPr>
          <p:spPr>
            <a:xfrm rot="1696035">
              <a:off x="4289930" y="1410007"/>
              <a:ext cx="1296000" cy="36207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lIns="0" tIns="0" rIns="0" bIns="0" rtlCol="0" anchor="ctr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0" indent="0" algn="ctr" fontAlgn="auto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8000"/>
                </a:buClr>
                <a:buSzPct val="80000"/>
                <a:buNone/>
                <a:defRPr/>
              </a:pPr>
              <a:r>
                <a:rPr lang="it-IT" sz="1400" b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AMPLE</a:t>
              </a:r>
            </a:p>
          </p:txBody>
        </p:sp>
        <p:cxnSp>
          <p:nvCxnSpPr>
            <p:cNvPr id="17" name="Straight Connector 16"/>
            <p:cNvCxnSpPr/>
            <p:nvPr/>
          </p:nvCxnSpPr>
          <p:spPr>
            <a:xfrm>
              <a:off x="4408423" y="1116080"/>
              <a:ext cx="1192667" cy="632626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4232900" y="1404120"/>
              <a:ext cx="1192667" cy="632626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04681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44364" y="175566"/>
            <a:ext cx="705697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in details</a:t>
            </a:r>
            <a:endParaRPr lang="en-US" alt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  <a:endParaRPr lang="it-IT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344488" y="897074"/>
            <a:ext cx="9217025" cy="165920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300"/>
              </a:spcAft>
              <a:buSzPct val="80000"/>
              <a:defRPr/>
            </a:pP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extensive set of information owned by INPS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arding the citizens, obtained by the ISEE system, also leveraging on the ones acquired by the cooperation with other Public Administrations,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uld allow to totally automate the ISEE calculation and release flow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88" name="Rectangle 87"/>
          <p:cNvSpPr/>
          <p:nvPr/>
        </p:nvSpPr>
        <p:spPr>
          <a:xfrm>
            <a:off x="3205476" y="6559174"/>
            <a:ext cx="792000" cy="249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w out</a:t>
            </a:r>
          </a:p>
        </p:txBody>
      </p:sp>
      <p:sp>
        <p:nvSpPr>
          <p:cNvPr id="89" name="Rectangle 88"/>
          <p:cNvSpPr/>
          <p:nvPr/>
        </p:nvSpPr>
        <p:spPr>
          <a:xfrm>
            <a:off x="1611833" y="6547451"/>
            <a:ext cx="792000" cy="266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w in</a:t>
            </a:r>
          </a:p>
        </p:txBody>
      </p:sp>
      <p:sp>
        <p:nvSpPr>
          <p:cNvPr id="90" name="Rectangle 89"/>
          <p:cNvSpPr/>
          <p:nvPr/>
        </p:nvSpPr>
        <p:spPr>
          <a:xfrm>
            <a:off x="776421" y="6463432"/>
            <a:ext cx="3319180" cy="326592"/>
          </a:xfrm>
          <a:prstGeom prst="rect">
            <a:avLst/>
          </a:prstGeom>
          <a:noFill/>
          <a:ln w="317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t-IT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855749" y="6419457"/>
            <a:ext cx="781360" cy="1744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11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end</a:t>
            </a:r>
          </a:p>
        </p:txBody>
      </p:sp>
      <p:cxnSp>
        <p:nvCxnSpPr>
          <p:cNvPr id="92" name="Straight Arrow Connector 91"/>
          <p:cNvCxnSpPr/>
          <p:nvPr/>
        </p:nvCxnSpPr>
        <p:spPr>
          <a:xfrm>
            <a:off x="2576670" y="6683965"/>
            <a:ext cx="684076" cy="0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ysDot"/>
            <a:tailEnd type="arrow"/>
          </a:ln>
          <a:effectLst/>
        </p:spPr>
      </p:cxnSp>
      <p:cxnSp>
        <p:nvCxnSpPr>
          <p:cNvPr id="93" name="Straight Arrow Connector 92"/>
          <p:cNvCxnSpPr/>
          <p:nvPr/>
        </p:nvCxnSpPr>
        <p:spPr>
          <a:xfrm>
            <a:off x="992444" y="6683965"/>
            <a:ext cx="669057" cy="0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grpSp>
        <p:nvGrpSpPr>
          <p:cNvPr id="5" name="Group 4"/>
          <p:cNvGrpSpPr/>
          <p:nvPr/>
        </p:nvGrpSpPr>
        <p:grpSpPr>
          <a:xfrm>
            <a:off x="633000" y="2707630"/>
            <a:ext cx="8640000" cy="3169710"/>
            <a:chOff x="921560" y="2707630"/>
            <a:chExt cx="8640000" cy="3169710"/>
          </a:xfrm>
        </p:grpSpPr>
        <p:pic>
          <p:nvPicPr>
            <p:cNvPr id="32" name="Picture 4" descr="C:\Users\giuseppe.parente\Downloads\MC900432624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1907" y="3621042"/>
              <a:ext cx="612000" cy="61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Box 32"/>
            <p:cNvSpPr txBox="1"/>
            <p:nvPr/>
          </p:nvSpPr>
          <p:spPr>
            <a:xfrm>
              <a:off x="932003" y="4328055"/>
              <a:ext cx="1044000" cy="23339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rIns="0" rtlCol="0">
              <a:spAutoFit/>
            </a:bodyPr>
            <a:lstStyle/>
            <a:p>
              <a:pPr algn="ctr">
                <a:lnSpc>
                  <a:spcPts val="1100"/>
                </a:lnSpc>
              </a:pPr>
              <a:r>
                <a:rPr lang="it-IT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ITIZEN</a:t>
              </a:r>
            </a:p>
          </p:txBody>
        </p:sp>
        <p:cxnSp>
          <p:nvCxnSpPr>
            <p:cNvPr id="36" name="Straight Arrow Connector 35"/>
            <p:cNvCxnSpPr>
              <a:stCxn id="32" idx="3"/>
              <a:endCxn id="44" idx="2"/>
            </p:cNvCxnSpPr>
            <p:nvPr/>
          </p:nvCxnSpPr>
          <p:spPr>
            <a:xfrm>
              <a:off x="1753907" y="3927042"/>
              <a:ext cx="2150405" cy="0"/>
            </a:xfrm>
            <a:prstGeom prst="straightConnector1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tailEnd type="arrow"/>
            </a:ln>
            <a:effectLst/>
          </p:spPr>
        </p:cxnSp>
        <p:sp>
          <p:nvSpPr>
            <p:cNvPr id="37" name="TextBox 36"/>
            <p:cNvSpPr txBox="1"/>
            <p:nvPr/>
          </p:nvSpPr>
          <p:spPr>
            <a:xfrm>
              <a:off x="2169734" y="3723734"/>
              <a:ext cx="1318750" cy="396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90487" algn="ctr">
                <a:spcAft>
                  <a:spcPts val="300"/>
                </a:spcAft>
                <a:buClr>
                  <a:srgbClr val="008000"/>
                </a:buClr>
                <a:buSzPct val="100000"/>
                <a:defRPr/>
              </a:pPr>
              <a:r>
                <a:rPr lang="it-IT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EE calculation request without submission of the DSU</a:t>
              </a:r>
            </a:p>
          </p:txBody>
        </p:sp>
        <p:sp>
          <p:nvSpPr>
            <p:cNvPr id="44" name="Oval 43"/>
            <p:cNvSpPr>
              <a:spLocks/>
            </p:cNvSpPr>
            <p:nvPr/>
          </p:nvSpPr>
          <p:spPr>
            <a:xfrm>
              <a:off x="3904312" y="3423066"/>
              <a:ext cx="1008000" cy="1007952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5" name="Picture 2" descr="http://www.rw-designer.com/icon-image/7507-256x256x32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18387" y="4134042"/>
              <a:ext cx="720080" cy="7200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62" name="Elbow Connector 61"/>
            <p:cNvCxnSpPr>
              <a:stCxn id="45" idx="2"/>
              <a:endCxn id="33" idx="2"/>
            </p:cNvCxnSpPr>
            <p:nvPr/>
          </p:nvCxnSpPr>
          <p:spPr>
            <a:xfrm rot="5400000" flipH="1">
              <a:off x="2619880" y="3395575"/>
              <a:ext cx="292670" cy="2624424"/>
            </a:xfrm>
            <a:prstGeom prst="bentConnector3">
              <a:avLst>
                <a:gd name="adj1" fmla="val -78108"/>
              </a:avLst>
            </a:prstGeom>
            <a:noFill/>
            <a:ln w="28575" cap="flat" cmpd="sng" algn="ctr">
              <a:solidFill>
                <a:srgbClr val="C00000"/>
              </a:solidFill>
              <a:prstDash val="sysDot"/>
              <a:tailEnd type="arrow"/>
            </a:ln>
            <a:effectLst/>
          </p:spPr>
        </p:cxnSp>
        <p:sp>
          <p:nvSpPr>
            <p:cNvPr id="40" name="TextBox 39"/>
            <p:cNvSpPr txBox="1"/>
            <p:nvPr/>
          </p:nvSpPr>
          <p:spPr>
            <a:xfrm>
              <a:off x="2106840" y="4886780"/>
              <a:ext cx="1318750" cy="396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marL="90487" algn="ctr">
                <a:spcAft>
                  <a:spcPts val="300"/>
                </a:spcAft>
                <a:buClr>
                  <a:srgbClr val="008000"/>
                </a:buClr>
                <a:buSzPct val="100000"/>
                <a:defRPr/>
              </a:pPr>
              <a:r>
                <a:rPr lang="it-IT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EE calculation release</a:t>
              </a:r>
            </a:p>
          </p:txBody>
        </p:sp>
        <p:pic>
          <p:nvPicPr>
            <p:cNvPr id="67" name="Picture 6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94381" y="3554709"/>
              <a:ext cx="681028" cy="754566"/>
            </a:xfrm>
            <a:prstGeom prst="rect">
              <a:avLst/>
            </a:prstGeom>
          </p:spPr>
        </p:pic>
        <p:sp>
          <p:nvSpPr>
            <p:cNvPr id="68" name="Oval 67"/>
            <p:cNvSpPr>
              <a:spLocks/>
            </p:cNvSpPr>
            <p:nvPr/>
          </p:nvSpPr>
          <p:spPr>
            <a:xfrm>
              <a:off x="6247122" y="3397358"/>
              <a:ext cx="437717" cy="423480"/>
            </a:xfrm>
            <a:prstGeom prst="ellipse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 w="1270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cxnSp>
          <p:nvCxnSpPr>
            <p:cNvPr id="71" name="Straight Arrow Connector 70"/>
            <p:cNvCxnSpPr>
              <a:stCxn id="67" idx="1"/>
              <a:endCxn id="44" idx="6"/>
            </p:cNvCxnSpPr>
            <p:nvPr/>
          </p:nvCxnSpPr>
          <p:spPr>
            <a:xfrm flipH="1" flipV="1">
              <a:off x="4912312" y="3927042"/>
              <a:ext cx="982069" cy="4950"/>
            </a:xfrm>
            <a:prstGeom prst="straightConnector1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tailEnd type="arrow"/>
            </a:ln>
            <a:effectLst/>
          </p:spPr>
        </p:cxnSp>
        <p:sp>
          <p:nvSpPr>
            <p:cNvPr id="78" name="Rectangle 77"/>
            <p:cNvSpPr/>
            <p:nvPr/>
          </p:nvSpPr>
          <p:spPr>
            <a:xfrm>
              <a:off x="5390070" y="3302559"/>
              <a:ext cx="4171442" cy="2574781"/>
            </a:xfrm>
            <a:prstGeom prst="rect">
              <a:avLst/>
            </a:prstGeom>
            <a:noFill/>
            <a:ln w="19050">
              <a:solidFill>
                <a:srgbClr val="0000FF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/>
              <a:r>
                <a:rPr lang="it-IT" sz="14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OPERATION TO SHARING DATA AND INFORMATION</a:t>
              </a: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7995647" y="3389318"/>
              <a:ext cx="1422493" cy="836880"/>
              <a:chOff x="7887014" y="3389318"/>
              <a:chExt cx="1422493" cy="836880"/>
            </a:xfrm>
          </p:grpSpPr>
          <p:pic>
            <p:nvPicPr>
              <p:cNvPr id="79" name="Picture 2" descr="http://everythingcomputerscience.com/images/Database_Administrator_2_300x300.jpg"/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16839"/>
              <a:stretch/>
            </p:blipFill>
            <p:spPr bwMode="auto">
              <a:xfrm>
                <a:off x="7887014" y="3637786"/>
                <a:ext cx="489330" cy="5884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0" name="Picture 13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08355" y="3389318"/>
                <a:ext cx="401152" cy="4011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1" name="Picture 4" descr="http://dasasindo.com/wp-content/uploads/2014/11/icon-companies.png"/>
              <p:cNvPicPr>
                <a:picLocks noChangeAspect="1" noChangeArrowheads="1"/>
              </p:cNvPicPr>
              <p:nvPr/>
            </p:nvPicPr>
            <p:blipFill>
              <a:blip r:embed="rId9" cstate="print">
                <a:duotone>
                  <a:prstClr val="black"/>
                  <a:srgbClr val="000000">
                    <a:tint val="45000"/>
                    <a:satMod val="400000"/>
                  </a:srgb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colorTemperature colorTemp="4700"/>
                        </a14:imgEffect>
                        <a14:imgEffect>
                          <a14:saturation sat="4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89407" y="3839237"/>
                <a:ext cx="535906" cy="32461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3" name="Picture 20" descr="http://upload.wikimedia.org/wikipedia/it/thumb/1/19/Logo_1_Agenzia_Entrate.svg/280px-Logo_1_Agenzia_Entrate.svg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94472" y="3394444"/>
                <a:ext cx="421887" cy="373731"/>
              </a:xfrm>
              <a:prstGeom prst="roundRect">
                <a:avLst/>
              </a:prstGeom>
              <a:noFill/>
              <a:ln w="12700"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84" name="TextBox 83"/>
            <p:cNvSpPr txBox="1"/>
            <p:nvPr/>
          </p:nvSpPr>
          <p:spPr>
            <a:xfrm>
              <a:off x="5424855" y="4328054"/>
              <a:ext cx="1620080" cy="461665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it-IT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CIAL ASSISTANCE DATABASE</a:t>
              </a:r>
            </a:p>
          </p:txBody>
        </p:sp>
        <p:cxnSp>
          <p:nvCxnSpPr>
            <p:cNvPr id="97" name="Straight Connector 96"/>
            <p:cNvCxnSpPr/>
            <p:nvPr/>
          </p:nvCxnSpPr>
          <p:spPr>
            <a:xfrm>
              <a:off x="921560" y="2852285"/>
              <a:ext cx="8640000" cy="0"/>
            </a:xfrm>
            <a:prstGeom prst="line">
              <a:avLst/>
            </a:prstGeom>
            <a:ln w="12700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TextBox 97"/>
            <p:cNvSpPr txBox="1"/>
            <p:nvPr/>
          </p:nvSpPr>
          <p:spPr>
            <a:xfrm>
              <a:off x="3783607" y="2707630"/>
              <a:ext cx="2915906" cy="28931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 anchor="ctr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UTURE ISEE FLOW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7439181" y="4231797"/>
              <a:ext cx="2122331" cy="830997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it-IT" sz="12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venue Agency</a:t>
              </a:r>
            </a:p>
            <a:p>
              <a:pPr algn="ctr"/>
              <a:r>
                <a:rPr lang="it-IT" sz="12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ther Public Administration</a:t>
              </a:r>
            </a:p>
            <a:p>
              <a:pPr algn="ctr"/>
              <a:r>
                <a:rPr lang="it-IT" sz="12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ployers</a:t>
              </a:r>
            </a:p>
            <a:p>
              <a:pPr algn="ctr"/>
              <a:r>
                <a:rPr lang="it-IT" sz="12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nancial institutions</a:t>
              </a:r>
            </a:p>
          </p:txBody>
        </p:sp>
      </p:grpSp>
      <p:cxnSp>
        <p:nvCxnSpPr>
          <p:cNvPr id="34" name="Straight Arrow Connector 33"/>
          <p:cNvCxnSpPr/>
          <p:nvPr/>
        </p:nvCxnSpPr>
        <p:spPr>
          <a:xfrm>
            <a:off x="6336523" y="3891684"/>
            <a:ext cx="1368000" cy="0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35" name="Straight Arrow Connector 34"/>
          <p:cNvCxnSpPr/>
          <p:nvPr/>
        </p:nvCxnSpPr>
        <p:spPr>
          <a:xfrm flipH="1">
            <a:off x="6281659" y="4058802"/>
            <a:ext cx="1368000" cy="0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ysDot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354759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3108543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6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ISEE in details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US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Carmeliana Franzese – Family income support benefits and ISEE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en-GB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 - 2016 Training Course “</a:t>
            </a:r>
            <a:r>
              <a:rPr lang="en-US" altLang="zh-CN" sz="1400" i="1" dirty="0">
                <a:latin typeface="Arial" panose="020B0604020202020204" pitchFamily="34" charset="0"/>
                <a:ea typeface="宋体" panose="02010600030101010101" pitchFamily="2" charset="-122"/>
              </a:rPr>
              <a:t>European practices in the Governance, Financial Management and Strategies for a Sustainable Social Security System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October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6th - 30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6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51736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x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44488" y="823939"/>
            <a:ext cx="9206135" cy="548478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Italian Indicator of “Equivalent Economic Situation” (ISEE)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in details</a:t>
            </a:r>
          </a:p>
          <a:p>
            <a:pPr marL="800100" lvl="1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alculation factors</a:t>
            </a:r>
          </a:p>
          <a:p>
            <a:pPr marL="800100" lvl="1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request and calculation flows</a:t>
            </a:r>
          </a:p>
          <a:p>
            <a:pPr marL="800100" lvl="1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information and controls system</a:t>
            </a: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800100" lvl="1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Certification</a:t>
            </a: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marL="800100" lvl="1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steps</a:t>
            </a:r>
            <a:endParaRPr lang="en-US" sz="240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81384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330200" y="897074"/>
            <a:ext cx="9231313" cy="36005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300"/>
              </a:spcAft>
              <a:buSzPct val="80000"/>
              <a:defRPr/>
            </a:pP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culated by INPS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ing into account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t factors,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order to determine a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ehensive indicator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he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 household condition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344364" y="175566"/>
            <a:ext cx="705697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in details</a:t>
            </a:r>
            <a:endParaRPr lang="en-US" alt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Calculation factors</a:t>
            </a:r>
            <a:endParaRPr lang="it-IT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487274" y="1679915"/>
            <a:ext cx="9027690" cy="1332000"/>
            <a:chOff x="487274" y="1679915"/>
            <a:chExt cx="9027690" cy="1332000"/>
          </a:xfrm>
        </p:grpSpPr>
        <p:pic>
          <p:nvPicPr>
            <p:cNvPr id="1714180" name="Picture 4" descr="http://www.inmotion.net/support/images/stories/icons/ecommerce/cash-dark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94" t="20910" r="4734" b="21284"/>
            <a:stretch/>
          </p:blipFill>
          <p:spPr bwMode="auto">
            <a:xfrm>
              <a:off x="8118125" y="1944602"/>
              <a:ext cx="1080000" cy="70406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Rectangle 33"/>
            <p:cNvSpPr/>
            <p:nvPr/>
          </p:nvSpPr>
          <p:spPr>
            <a:xfrm>
              <a:off x="3625286" y="1679915"/>
              <a:ext cx="4176000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lvl="2" indent="-285750" algn="just" fontAlgn="auto">
                <a:spcBef>
                  <a:spcPts val="0"/>
                </a:spcBef>
                <a:spcAft>
                  <a:spcPts val="0"/>
                </a:spcAft>
                <a:buSzPct val="80000"/>
                <a:buFont typeface="Wingdings" panose="05000000000000000000" pitchFamily="2" charset="2"/>
                <a:buChar char="ü"/>
                <a:defRPr/>
              </a:pPr>
              <a:r>
                <a:rPr lang="en-US" sz="16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omes</a:t>
              </a:r>
              <a:r>
                <a:rPr lang="en-US" sz="16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from working and not working activities, </a:t>
              </a:r>
              <a:r>
                <a:rPr lang="en-US" sz="16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luding welfare allowances </a:t>
              </a:r>
              <a:r>
                <a:rPr lang="en-US" sz="16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not related to disabilities)</a:t>
              </a:r>
              <a:endPara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lvl="2" indent="-285750" algn="just" fontAlgn="auto">
                <a:spcBef>
                  <a:spcPts val="0"/>
                </a:spcBef>
                <a:spcAft>
                  <a:spcPts val="0"/>
                </a:spcAft>
                <a:buSzPct val="80000"/>
                <a:buFont typeface="Wingdings" panose="05000000000000000000" pitchFamily="2" charset="2"/>
                <a:buChar char="ü"/>
                <a:defRPr/>
              </a:pPr>
              <a:r>
                <a:rPr lang="en-US" sz="16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ductions</a:t>
              </a:r>
              <a:r>
                <a:rPr lang="en-US" sz="1600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</a:t>
              </a: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 rent</a:t>
              </a:r>
              <a:r>
                <a:rPr lang="it-IT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etc.</a:t>
              </a:r>
              <a:endPara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487274" y="1679915"/>
              <a:ext cx="3025526" cy="1332000"/>
            </a:xfrm>
            <a:prstGeom prst="rect">
              <a:avLst/>
            </a:prstGeom>
            <a:noFill/>
            <a:ln w="9525">
              <a:solidFill>
                <a:srgbClr val="0000FF"/>
              </a:solidFill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108000" rIns="108000" anchor="ctr" anchorCtr="0"/>
            <a:lstStyle/>
            <a:p>
              <a:pPr algn="ctr"/>
              <a:r>
                <a:rPr lang="en-US" sz="16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COMES OF EVERY HOUSEHOLD MEMBER </a:t>
              </a:r>
              <a:r>
                <a:rPr lang="en-US" sz="1600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</a:t>
              </a:r>
              <a:r>
                <a:rPr lang="it-IT" sz="1600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DUCTIONS APPLICABLE</a:t>
              </a:r>
              <a:endParaRPr lang="en-US" sz="160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656819" y="1679915"/>
              <a:ext cx="5858145" cy="1332000"/>
            </a:xfrm>
            <a:prstGeom prst="rect">
              <a:avLst/>
            </a:prstGeom>
            <a:noFill/>
            <a:ln w="9525">
              <a:solidFill>
                <a:srgbClr val="C00000"/>
              </a:solidFill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txBody>
            <a:bodyPr lIns="108000" rIns="108000" anchor="ctr" anchorCtr="0"/>
            <a:lstStyle/>
            <a:p>
              <a:pPr algn="ctr"/>
              <a:endParaRPr lang="en-US" sz="160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" name="Rectangle 4"/>
          <p:cNvSpPr/>
          <p:nvPr/>
        </p:nvSpPr>
        <p:spPr>
          <a:xfrm>
            <a:off x="487274" y="3336141"/>
            <a:ext cx="3025526" cy="1332000"/>
          </a:xfrm>
          <a:prstGeom prst="rect">
            <a:avLst/>
          </a:prstGeom>
          <a:noFill/>
          <a:ln w="9525">
            <a:solidFill>
              <a:srgbClr val="0000FF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08000" anchor="ctr" anchorCtr="0"/>
          <a:lstStyle/>
          <a:p>
            <a:pPr marL="0" lvl="2" algn="ctr"/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TS OF EVERY HOUSEHOLD MEMBER </a:t>
            </a:r>
            <a:r>
              <a:rPr lang="en-US" sz="160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DEDUCTION APPLICABLE</a:t>
            </a:r>
          </a:p>
        </p:txBody>
      </p:sp>
      <p:sp>
        <p:nvSpPr>
          <p:cNvPr id="6" name="Rectangle 5"/>
          <p:cNvSpPr/>
          <p:nvPr/>
        </p:nvSpPr>
        <p:spPr>
          <a:xfrm>
            <a:off x="3625286" y="3336141"/>
            <a:ext cx="399208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2" indent="-28575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ties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Houses, lands, etc.</a:t>
            </a:r>
          </a:p>
          <a:p>
            <a:pPr marL="285750" lvl="2" indent="-28575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 assets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cash deposits, stocks, bonds, etc.</a:t>
            </a:r>
          </a:p>
          <a:p>
            <a:pPr marL="285750" lvl="2" indent="-28575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ductions: decrease of the household house value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tc.</a:t>
            </a:r>
          </a:p>
        </p:txBody>
      </p:sp>
      <p:pic>
        <p:nvPicPr>
          <p:cNvPr id="43" name="Picture 2" descr="http://cdns2.freepik.com/foto-gratuito/_318-186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13" t="17745" r="17590" b="16799"/>
          <a:stretch/>
        </p:blipFill>
        <p:spPr bwMode="auto">
          <a:xfrm>
            <a:off x="7585838" y="3829033"/>
            <a:ext cx="887070" cy="8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3656819" y="3336141"/>
            <a:ext cx="5880958" cy="1332000"/>
          </a:xfrm>
          <a:prstGeom prst="rect">
            <a:avLst/>
          </a:prstGeom>
          <a:noFill/>
          <a:ln w="9525">
            <a:solidFill>
              <a:srgbClr val="C00000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08000" anchor="ctr" anchorCtr="0"/>
          <a:lstStyle/>
          <a:p>
            <a:pPr algn="ctr"/>
            <a:endParaRPr lang="en-US" sz="1600" i="1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14182" name="Picture 6" descr="http://t3.gstatic.com/images?q=tbn:ANd9GcQEkKAI_C91Ey7I7nUDQb38nKfXROwAYT0uRDqS04n5eOGcaqVuQA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24" t="19700" r="17058" b="17980"/>
          <a:stretch/>
        </p:blipFill>
        <p:spPr bwMode="auto">
          <a:xfrm>
            <a:off x="8483094" y="3407489"/>
            <a:ext cx="1027596" cy="9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488950" y="5085231"/>
            <a:ext cx="3540974" cy="107721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lvl="2" algn="ctr" fontAlgn="auto">
              <a:spcBef>
                <a:spcPts val="0"/>
              </a:spcBef>
              <a:spcAft>
                <a:spcPts val="0"/>
              </a:spcAft>
              <a:buSzPct val="80000"/>
              <a:defRPr/>
            </a:pPr>
            <a:endParaRPr lang="en-US" sz="16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625287" y="4941210"/>
            <a:ext cx="424874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2" indent="-28575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mber of people</a:t>
            </a:r>
          </a:p>
          <a:p>
            <a:pPr marL="285750" lvl="2" indent="-28575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ce of minors or disabled people</a:t>
            </a:r>
          </a:p>
          <a:p>
            <a:pPr marL="285750" lvl="2" indent="-28575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mily peculiarities</a:t>
            </a:r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large family, single-parent family, presence of children under age of 3, presence etc.</a:t>
            </a:r>
          </a:p>
        </p:txBody>
      </p:sp>
      <p:pic>
        <p:nvPicPr>
          <p:cNvPr id="29" name="Picture 8" descr="Woman Pictogram silhouette illustration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43" r="34312"/>
          <a:stretch/>
        </p:blipFill>
        <p:spPr bwMode="auto">
          <a:xfrm>
            <a:off x="9147618" y="5368570"/>
            <a:ext cx="336626" cy="868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" descr="http://nawilliams.co.uk/img/family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84" b="17171"/>
          <a:stretch/>
        </p:blipFill>
        <p:spPr bwMode="auto">
          <a:xfrm>
            <a:off x="7827118" y="5033394"/>
            <a:ext cx="1249477" cy="843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3656820" y="4941210"/>
            <a:ext cx="5880958" cy="1332000"/>
          </a:xfrm>
          <a:prstGeom prst="rect">
            <a:avLst/>
          </a:prstGeom>
          <a:noFill/>
          <a:ln w="9525">
            <a:solidFill>
              <a:srgbClr val="C00000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08000" anchor="ctr" anchorCtr="0"/>
          <a:lstStyle/>
          <a:p>
            <a:pPr algn="ctr"/>
            <a:endParaRPr lang="en-US" sz="1600" i="1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87274" y="4941210"/>
            <a:ext cx="3025526" cy="1332000"/>
          </a:xfrm>
          <a:prstGeom prst="rect">
            <a:avLst/>
          </a:prstGeom>
          <a:noFill/>
          <a:ln w="9525">
            <a:solidFill>
              <a:srgbClr val="0000FF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08000" anchor="ctr" anchorCtr="0"/>
          <a:lstStyle/>
          <a:p>
            <a:pPr marL="0" lvl="2" algn="ctr" fontAlgn="auto"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HOLD </a:t>
            </a:r>
          </a:p>
          <a:p>
            <a:pPr marL="0" lvl="2" algn="ctr" fontAlgn="auto"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en-US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ACTERISTICS</a:t>
            </a:r>
            <a:endParaRPr lang="en-US" sz="16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63909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44364" y="175566"/>
            <a:ext cx="705697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in details</a:t>
            </a:r>
            <a:endParaRPr lang="en-US" alt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Calculation factors – ISEE formula</a:t>
            </a:r>
            <a:endParaRPr lang="it-IT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Box 23"/>
          <p:cNvSpPr txBox="1">
            <a:spLocks noChangeArrowheads="1"/>
          </p:cNvSpPr>
          <p:nvPr/>
        </p:nvSpPr>
        <p:spPr bwMode="auto">
          <a:xfrm>
            <a:off x="330200" y="897074"/>
            <a:ext cx="9231313" cy="36005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300"/>
              </a:spcAft>
              <a:buSzPct val="80000"/>
              <a:defRPr/>
            </a:pP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equal to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io between the Economic Situation Indicator (ISE) of the household and the Equivalence Scale Parameter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culated with reference to the specific household composition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2413372" y="2371936"/>
            <a:ext cx="1296180" cy="504670"/>
          </a:xfrm>
          <a:prstGeom prst="roundRect">
            <a:avLst/>
          </a:prstGeom>
          <a:solidFill>
            <a:schemeClr val="accent5">
              <a:lumMod val="20000"/>
              <a:lumOff val="80000"/>
            </a:schemeClr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20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39448" y="2164770"/>
            <a:ext cx="7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428006" y="2362661"/>
            <a:ext cx="12961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085448" y="2624271"/>
            <a:ext cx="828000" cy="0"/>
          </a:xfrm>
          <a:prstGeom prst="line">
            <a:avLst/>
          </a:prstGeom>
          <a:ln w="285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139448" y="2668840"/>
            <a:ext cx="72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5253569" y="2624271"/>
            <a:ext cx="2016000" cy="0"/>
          </a:xfrm>
          <a:prstGeom prst="line">
            <a:avLst/>
          </a:prstGeom>
          <a:ln w="285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709612" y="2362661"/>
            <a:ext cx="43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=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159257" y="2164770"/>
            <a:ext cx="648000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413844" y="2133436"/>
            <a:ext cx="827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857245" y="2166889"/>
            <a:ext cx="163538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0% x ISP)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847569" y="2668840"/>
            <a:ext cx="828000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000" b="1">
                <a:latin typeface="+mn-lt"/>
              </a:defRPr>
            </a:lvl1pPr>
          </a:lstStyle>
          <a:p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047668" y="3454625"/>
            <a:ext cx="7997297" cy="540000"/>
            <a:chOff x="1047668" y="3454625"/>
            <a:chExt cx="7997297" cy="540000"/>
          </a:xfrm>
        </p:grpSpPr>
        <p:sp>
          <p:nvSpPr>
            <p:cNvPr id="18" name="Rectangle 17"/>
            <p:cNvSpPr/>
            <p:nvPr/>
          </p:nvSpPr>
          <p:spPr>
            <a:xfrm>
              <a:off x="2348965" y="3472625"/>
              <a:ext cx="6696000" cy="504000"/>
            </a:xfrm>
            <a:prstGeom prst="rect">
              <a:avLst/>
            </a:prstGeom>
          </p:spPr>
          <p:txBody>
            <a:bodyPr wrap="square" lIns="0" tIns="0" rIns="0" bIns="0">
              <a:noAutofit/>
            </a:bodyPr>
            <a:lstStyle/>
            <a:p>
              <a:pPr algn="just"/>
              <a:r>
                <a:rPr lang="it-IT" sz="1600" b="1" i="1" u="sng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hold Income Indicator</a:t>
              </a:r>
              <a:r>
                <a:rPr lang="it-IT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>
                  <a:latin typeface="Arial" panose="020B0604020202020204" pitchFamily="34" charset="0"/>
                  <a:ea typeface="Calibri"/>
                  <a:cs typeface="Arial" panose="020B0604020202020204" pitchFamily="34" charset="0"/>
                </a:rPr>
                <a:t>is the</a:t>
              </a:r>
              <a:r>
                <a:rPr lang="en-US" sz="1600" b="1" dirty="0">
                  <a:latin typeface="Arial" panose="020B0604020202020204" pitchFamily="34" charset="0"/>
                  <a:ea typeface="Calibri"/>
                  <a:cs typeface="Arial" panose="020B0604020202020204" pitchFamily="34" charset="0"/>
                </a:rPr>
                <a:t> </a:t>
              </a:r>
              <a:r>
                <a:rPr lang="en-US" sz="1600" dirty="0">
                  <a:latin typeface="Arial" panose="020B0604020202020204" pitchFamily="34" charset="0"/>
                  <a:ea typeface="Calibri"/>
                  <a:cs typeface="Arial" panose="020B0604020202020204" pitchFamily="34" charset="0"/>
                </a:rPr>
                <a:t>difference between the summation of the incomes of every household member and the deductions applicable</a:t>
              </a:r>
              <a:endParaRPr lang="it-IT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Rounded Rectangle 18"/>
            <p:cNvSpPr/>
            <p:nvPr/>
          </p:nvSpPr>
          <p:spPr>
            <a:xfrm>
              <a:off x="1047668" y="3454625"/>
              <a:ext cx="1172224" cy="540000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0000FF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it-IT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R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047668" y="4479152"/>
            <a:ext cx="7997296" cy="540000"/>
            <a:chOff x="1047668" y="4479152"/>
            <a:chExt cx="7997296" cy="540000"/>
          </a:xfrm>
        </p:grpSpPr>
        <p:sp>
          <p:nvSpPr>
            <p:cNvPr id="21" name="Rectangle 20"/>
            <p:cNvSpPr/>
            <p:nvPr/>
          </p:nvSpPr>
          <p:spPr>
            <a:xfrm>
              <a:off x="2348964" y="4497152"/>
              <a:ext cx="6696000" cy="50400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it-IT" sz="1600" b="1" i="1" u="sng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hold Asset Indicator</a:t>
              </a:r>
              <a:r>
                <a:rPr lang="it-IT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>
                  <a:latin typeface="Arial" panose="020B0604020202020204" pitchFamily="34" charset="0"/>
                  <a:ea typeface="Calibri"/>
                  <a:cs typeface="Arial" panose="020B0604020202020204" pitchFamily="34" charset="0"/>
                </a:rPr>
                <a:t>is the</a:t>
              </a:r>
              <a:r>
                <a:rPr lang="en-US" sz="1600" b="1" dirty="0">
                  <a:latin typeface="Arial" panose="020B0604020202020204" pitchFamily="34" charset="0"/>
                  <a:ea typeface="Calibri"/>
                  <a:cs typeface="Arial" panose="020B0604020202020204" pitchFamily="34" charset="0"/>
                </a:rPr>
                <a:t> </a:t>
              </a:r>
              <a:r>
                <a:rPr lang="en-US" sz="1600" dirty="0">
                  <a:latin typeface="Arial" panose="020B0604020202020204" pitchFamily="34" charset="0"/>
                  <a:ea typeface="Calibri"/>
                  <a:cs typeface="Arial" panose="020B0604020202020204" pitchFamily="34" charset="0"/>
                </a:rPr>
                <a:t>difference between the summation of the assets of every household member and the deductions applicable</a:t>
              </a:r>
              <a:endParaRPr lang="it-IT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1047668" y="4479152"/>
              <a:ext cx="1172224" cy="540000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0000FF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it-IT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P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1047668" y="5490030"/>
            <a:ext cx="7997296" cy="540000"/>
            <a:chOff x="1047668" y="5490030"/>
            <a:chExt cx="7997296" cy="540000"/>
          </a:xfrm>
        </p:grpSpPr>
        <p:sp>
          <p:nvSpPr>
            <p:cNvPr id="24" name="Rectangle 23"/>
            <p:cNvSpPr/>
            <p:nvPr/>
          </p:nvSpPr>
          <p:spPr>
            <a:xfrm>
              <a:off x="2348964" y="5508030"/>
              <a:ext cx="6696000" cy="50400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just"/>
              <a:r>
                <a:rPr lang="it-IT" sz="1600" b="1" i="1" u="sng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hold Equivalence Scale</a:t>
              </a:r>
              <a:r>
                <a:rPr lang="it-IT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>
                  <a:latin typeface="Arial" panose="020B0604020202020204" pitchFamily="34" charset="0"/>
                  <a:ea typeface="Calibri"/>
                  <a:cs typeface="Arial" panose="020B0604020202020204" pitchFamily="34" charset="0"/>
                </a:rPr>
                <a:t>is given by law through a specific table that takes into account the possible different household characteristics</a:t>
              </a:r>
              <a:endParaRPr lang="it-IT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ounded Rectangle 24"/>
            <p:cNvSpPr/>
            <p:nvPr/>
          </p:nvSpPr>
          <p:spPr>
            <a:xfrm>
              <a:off x="1047668" y="5490030"/>
              <a:ext cx="1172224" cy="540000"/>
            </a:xfrm>
            <a:prstGeom prst="roundRect">
              <a:avLst/>
            </a:prstGeom>
            <a:solidFill>
              <a:schemeClr val="bg1"/>
            </a:solidFill>
            <a:ln w="25400" cap="flat" cmpd="sng" algn="ctr">
              <a:solidFill>
                <a:srgbClr val="0000FF"/>
              </a:solidFill>
              <a:prstDash val="solid"/>
            </a:ln>
            <a:effectLst/>
          </p:spPr>
          <p:txBody>
            <a:bodyPr lIns="0" tIns="0" rIns="0" bIns="0" rtlCol="0" anchor="ctr" anchorCtr="1"/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it-IT" sz="20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737726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44364" y="175566"/>
            <a:ext cx="705697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in details</a:t>
            </a:r>
            <a:endParaRPr lang="en-US" alt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Calculation factors – Source of data (1/2)</a:t>
            </a:r>
            <a:endParaRPr lang="it-IT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344364" y="897074"/>
            <a:ext cx="9217149" cy="465250"/>
          </a:xfrm>
          <a:prstGeom prst="rect">
            <a:avLst/>
          </a:prstGeom>
          <a:noFill/>
          <a:ln w="9525">
            <a:solidFill>
              <a:schemeClr val="accent2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08000" anchor="ctr" anchorCtr="0"/>
          <a:lstStyle>
            <a:defPPr>
              <a:defRPr lang="en-US"/>
            </a:defPPr>
            <a:lvl1pPr algn="ctr">
              <a:defRPr sz="1600" b="1" kern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Data source for ISEE calculation is defined by law and can be divided into two main clusters: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88950" y="5682160"/>
            <a:ext cx="3540974" cy="107721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0" lvl="2" algn="ctr" fontAlgn="auto">
              <a:spcBef>
                <a:spcPts val="0"/>
              </a:spcBef>
              <a:spcAft>
                <a:spcPts val="0"/>
              </a:spcAft>
              <a:buSzPct val="80000"/>
              <a:defRPr/>
            </a:pPr>
            <a:endParaRPr lang="en-US" sz="16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" name="Elbow Connector 9"/>
          <p:cNvCxnSpPr>
            <a:stCxn id="3" idx="2"/>
            <a:endCxn id="8" idx="0"/>
          </p:cNvCxnSpPr>
          <p:nvPr/>
        </p:nvCxnSpPr>
        <p:spPr>
          <a:xfrm rot="5400000">
            <a:off x="3595467" y="487308"/>
            <a:ext cx="482456" cy="2232488"/>
          </a:xfrm>
          <a:prstGeom prst="bentConnector3">
            <a:avLst/>
          </a:prstGeom>
          <a:ln w="19050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lbow Connector 20"/>
          <p:cNvCxnSpPr>
            <a:stCxn id="3" idx="2"/>
            <a:endCxn id="11" idx="0"/>
          </p:cNvCxnSpPr>
          <p:nvPr/>
        </p:nvCxnSpPr>
        <p:spPr>
          <a:xfrm rot="16200000" flipH="1">
            <a:off x="5796134" y="519128"/>
            <a:ext cx="482456" cy="2168847"/>
          </a:xfrm>
          <a:prstGeom prst="bentConnector3">
            <a:avLst>
              <a:gd name="adj1" fmla="val 50000"/>
            </a:avLst>
          </a:prstGeom>
          <a:ln w="19050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92451" y="1844780"/>
            <a:ext cx="3456000" cy="668935"/>
          </a:xfrm>
          <a:prstGeom prst="rect">
            <a:avLst/>
          </a:prstGeom>
          <a:noFill/>
          <a:ln w="9525">
            <a:solidFill>
              <a:srgbClr val="0000FF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08000" anchor="ctr" anchorCtr="0"/>
          <a:lstStyle/>
          <a:p>
            <a:pPr algn="ctr"/>
            <a:r>
              <a:rPr lang="it-IT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LF-CERTIFIED DATA BY APPLICANTS THROUGH DSU</a:t>
            </a:r>
            <a:endParaRPr lang="en-US" sz="1200" i="1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92450" y="2588502"/>
            <a:ext cx="3456002" cy="1751148"/>
          </a:xfrm>
          <a:prstGeom prst="rect">
            <a:avLst/>
          </a:prstGeom>
          <a:noFill/>
          <a:ln w="9525">
            <a:solidFill>
              <a:srgbClr val="C00000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08000" anchor="ctr" anchorCtr="0"/>
          <a:lstStyle/>
          <a:p>
            <a:pPr marL="177800" lvl="2" indent="-17780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hold composition </a:t>
            </a:r>
            <a:r>
              <a:rPr lang="en-US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number of people, presence of minors) </a:t>
            </a: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family peculiarities</a:t>
            </a:r>
            <a:r>
              <a:rPr lang="en-US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e.g. single-parent family, </a:t>
            </a:r>
            <a:r>
              <a:rPr lang="it-IT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sence of people with disabilities, etc.)</a:t>
            </a:r>
            <a:endParaRPr lang="en-US" sz="120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7800" lvl="2" indent="-17780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ties</a:t>
            </a:r>
            <a:r>
              <a:rPr lang="en-US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Houses, lands, etc.) and </a:t>
            </a: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ncial assets </a:t>
            </a:r>
            <a:r>
              <a:rPr lang="en-US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.g. cash deposits, stocks, bonds, etc.)</a:t>
            </a:r>
          </a:p>
          <a:p>
            <a:pPr marL="177800" lvl="2" indent="-17780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nses </a:t>
            </a:r>
            <a:r>
              <a:rPr lang="en-US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ed to the whole household (</a:t>
            </a: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</a:t>
            </a:r>
            <a:r>
              <a:rPr lang="it-IT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t</a:t>
            </a:r>
            <a:r>
              <a:rPr lang="it-IT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430772" y="4725180"/>
            <a:ext cx="3017679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lvl="2" indent="-285750" algn="ctr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20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usehold composition and peculiarities: </a:t>
            </a:r>
            <a:r>
              <a:rPr lang="en-US" sz="1200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SU transmission date</a:t>
            </a:r>
          </a:p>
          <a:p>
            <a:pPr marL="285750" lvl="2" indent="-285750" algn="ctr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200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erties and house rent amount (if applicable): </a:t>
            </a:r>
            <a:r>
              <a:rPr lang="en-US" sz="1200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200" b="1" i="1" kern="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1200" b="1" i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lar-year preceding the DSU transmission date</a:t>
            </a:r>
          </a:p>
          <a:p>
            <a:pPr marL="285750" lvl="2" indent="-285750" algn="ctr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endParaRPr lang="en-US" sz="1200" i="1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riangolo isoscele 16"/>
          <p:cNvSpPr/>
          <p:nvPr/>
        </p:nvSpPr>
        <p:spPr>
          <a:xfrm rot="10800000">
            <a:off x="1499202" y="4403286"/>
            <a:ext cx="2442499" cy="180000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393786" y="1844780"/>
            <a:ext cx="3456000" cy="668935"/>
          </a:xfrm>
          <a:prstGeom prst="rect">
            <a:avLst/>
          </a:prstGeom>
          <a:noFill/>
          <a:ln w="9525">
            <a:solidFill>
              <a:srgbClr val="0000FF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08000" anchor="ctr" anchorCtr="0"/>
          <a:lstStyle/>
          <a:p>
            <a:pPr marL="0" lvl="2" algn="ctr"/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UTOMATICALLY GATHERED</a:t>
            </a:r>
            <a:b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ROM REVENUE AGENCY AND INPS </a:t>
            </a:r>
            <a:b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BASES</a:t>
            </a:r>
            <a:endParaRPr lang="en-US" sz="1200" i="1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393786" y="2588502"/>
            <a:ext cx="3456000" cy="1751148"/>
          </a:xfrm>
          <a:prstGeom prst="rect">
            <a:avLst/>
          </a:prstGeom>
          <a:noFill/>
          <a:ln w="9525">
            <a:solidFill>
              <a:srgbClr val="C00000"/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08000" anchor="t" anchorCtr="0"/>
          <a:lstStyle/>
          <a:p>
            <a:pPr marL="177800" lvl="2" indent="-17780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mes </a:t>
            </a:r>
            <a:r>
              <a:rPr lang="en-US" sz="12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working and not working activities</a:t>
            </a:r>
          </a:p>
          <a:p>
            <a:pPr marL="177800" lvl="2" indent="-17780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fare allowances eligible for ISEE calculation</a:t>
            </a:r>
          </a:p>
          <a:p>
            <a:pPr marL="177800" lvl="2" indent="-17780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12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expenses</a:t>
            </a:r>
          </a:p>
        </p:txBody>
      </p:sp>
      <p:sp>
        <p:nvSpPr>
          <p:cNvPr id="32" name="Triangolo isoscele 16"/>
          <p:cNvSpPr/>
          <p:nvPr/>
        </p:nvSpPr>
        <p:spPr>
          <a:xfrm rot="10800000">
            <a:off x="5900537" y="4403286"/>
            <a:ext cx="2442499" cy="180000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640337" y="4772349"/>
            <a:ext cx="1080022" cy="900112"/>
            <a:chOff x="344360" y="4800825"/>
            <a:chExt cx="1080022" cy="900112"/>
          </a:xfrm>
        </p:grpSpPr>
        <p:sp>
          <p:nvSpPr>
            <p:cNvPr id="34" name="Freeform 17"/>
            <p:cNvSpPr>
              <a:spLocks noChangeAspect="1" noEditPoints="1"/>
            </p:cNvSpPr>
            <p:nvPr/>
          </p:nvSpPr>
          <p:spPr bwMode="auto">
            <a:xfrm>
              <a:off x="684099" y="4800825"/>
              <a:ext cx="400544" cy="459418"/>
            </a:xfrm>
            <a:custGeom>
              <a:avLst/>
              <a:gdLst>
                <a:gd name="T0" fmla="*/ 2147483647 w 4146"/>
                <a:gd name="T1" fmla="*/ 2147483647 h 4763"/>
                <a:gd name="T2" fmla="*/ 2147483647 w 4146"/>
                <a:gd name="T3" fmla="*/ 2147483647 h 4763"/>
                <a:gd name="T4" fmla="*/ 2147483647 w 4146"/>
                <a:gd name="T5" fmla="*/ 2147483647 h 4763"/>
                <a:gd name="T6" fmla="*/ 2147483647 w 4146"/>
                <a:gd name="T7" fmla="*/ 2147483647 h 4763"/>
                <a:gd name="T8" fmla="*/ 2147483647 w 4146"/>
                <a:gd name="T9" fmla="*/ 2147483647 h 4763"/>
                <a:gd name="T10" fmla="*/ 2147483647 w 4146"/>
                <a:gd name="T11" fmla="*/ 2147483647 h 4763"/>
                <a:gd name="T12" fmla="*/ 2147483647 w 4146"/>
                <a:gd name="T13" fmla="*/ 2147483647 h 4763"/>
                <a:gd name="T14" fmla="*/ 2147483647 w 4146"/>
                <a:gd name="T15" fmla="*/ 2147483647 h 4763"/>
                <a:gd name="T16" fmla="*/ 2147483647 w 4146"/>
                <a:gd name="T17" fmla="*/ 2147483647 h 4763"/>
                <a:gd name="T18" fmla="*/ 2147483647 w 4146"/>
                <a:gd name="T19" fmla="*/ 2147483647 h 4763"/>
                <a:gd name="T20" fmla="*/ 2147483647 w 4146"/>
                <a:gd name="T21" fmla="*/ 2147483647 h 4763"/>
                <a:gd name="T22" fmla="*/ 2147483647 w 4146"/>
                <a:gd name="T23" fmla="*/ 2147483647 h 4763"/>
                <a:gd name="T24" fmla="*/ 2147483647 w 4146"/>
                <a:gd name="T25" fmla="*/ 2147483647 h 4763"/>
                <a:gd name="T26" fmla="*/ 2147483647 w 4146"/>
                <a:gd name="T27" fmla="*/ 2147483647 h 4763"/>
                <a:gd name="T28" fmla="*/ 2147483647 w 4146"/>
                <a:gd name="T29" fmla="*/ 2147483647 h 4763"/>
                <a:gd name="T30" fmla="*/ 2147483647 w 4146"/>
                <a:gd name="T31" fmla="*/ 2147483647 h 4763"/>
                <a:gd name="T32" fmla="*/ 2147483647 w 4146"/>
                <a:gd name="T33" fmla="*/ 2147483647 h 4763"/>
                <a:gd name="T34" fmla="*/ 2147483647 w 4146"/>
                <a:gd name="T35" fmla="*/ 2147483647 h 4763"/>
                <a:gd name="T36" fmla="*/ 2147483647 w 4146"/>
                <a:gd name="T37" fmla="*/ 2147483647 h 4763"/>
                <a:gd name="T38" fmla="*/ 2147483647 w 4146"/>
                <a:gd name="T39" fmla="*/ 2147483647 h 4763"/>
                <a:gd name="T40" fmla="*/ 2147483647 w 4146"/>
                <a:gd name="T41" fmla="*/ 2147483647 h 4763"/>
                <a:gd name="T42" fmla="*/ 2147483647 w 4146"/>
                <a:gd name="T43" fmla="*/ 2147483647 h 4763"/>
                <a:gd name="T44" fmla="*/ 2147483647 w 4146"/>
                <a:gd name="T45" fmla="*/ 2147483647 h 4763"/>
                <a:gd name="T46" fmla="*/ 2147483647 w 4146"/>
                <a:gd name="T47" fmla="*/ 2147483647 h 4763"/>
                <a:gd name="T48" fmla="*/ 2147483647 w 4146"/>
                <a:gd name="T49" fmla="*/ 2147483647 h 4763"/>
                <a:gd name="T50" fmla="*/ 2147483647 w 4146"/>
                <a:gd name="T51" fmla="*/ 2147483647 h 4763"/>
                <a:gd name="T52" fmla="*/ 2147483647 w 4146"/>
                <a:gd name="T53" fmla="*/ 2147483647 h 4763"/>
                <a:gd name="T54" fmla="*/ 2147483647 w 4146"/>
                <a:gd name="T55" fmla="*/ 2147483647 h 4763"/>
                <a:gd name="T56" fmla="*/ 2147483647 w 4146"/>
                <a:gd name="T57" fmla="*/ 2147483647 h 4763"/>
                <a:gd name="T58" fmla="*/ 2147483647 w 4146"/>
                <a:gd name="T59" fmla="*/ 2147483647 h 4763"/>
                <a:gd name="T60" fmla="*/ 2147483647 w 4146"/>
                <a:gd name="T61" fmla="*/ 2147483647 h 4763"/>
                <a:gd name="T62" fmla="*/ 2147483647 w 4146"/>
                <a:gd name="T63" fmla="*/ 2147483647 h 4763"/>
                <a:gd name="T64" fmla="*/ 2147483647 w 4146"/>
                <a:gd name="T65" fmla="*/ 2147483647 h 4763"/>
                <a:gd name="T66" fmla="*/ 2147483647 w 4146"/>
                <a:gd name="T67" fmla="*/ 2147483647 h 4763"/>
                <a:gd name="T68" fmla="*/ 2147483647 w 4146"/>
                <a:gd name="T69" fmla="*/ 2147483647 h 4763"/>
                <a:gd name="T70" fmla="*/ 2147483647 w 4146"/>
                <a:gd name="T71" fmla="*/ 2147483647 h 4763"/>
                <a:gd name="T72" fmla="*/ 2147483647 w 4146"/>
                <a:gd name="T73" fmla="*/ 2147483647 h 4763"/>
                <a:gd name="T74" fmla="*/ 2147483647 w 4146"/>
                <a:gd name="T75" fmla="*/ 2147483647 h 4763"/>
                <a:gd name="T76" fmla="*/ 2147483647 w 4146"/>
                <a:gd name="T77" fmla="*/ 2147483647 h 4763"/>
                <a:gd name="T78" fmla="*/ 2147483647 w 4146"/>
                <a:gd name="T79" fmla="*/ 2147483647 h 4763"/>
                <a:gd name="T80" fmla="*/ 2147483647 w 4146"/>
                <a:gd name="T81" fmla="*/ 2147483647 h 4763"/>
                <a:gd name="T82" fmla="*/ 2147483647 w 4146"/>
                <a:gd name="T83" fmla="*/ 2147483647 h 4763"/>
                <a:gd name="T84" fmla="*/ 2147483647 w 4146"/>
                <a:gd name="T85" fmla="*/ 2147483647 h 4763"/>
                <a:gd name="T86" fmla="*/ 2147483647 w 4146"/>
                <a:gd name="T87" fmla="*/ 2147483647 h 4763"/>
                <a:gd name="T88" fmla="*/ 2147483647 w 4146"/>
                <a:gd name="T89" fmla="*/ 2147483647 h 4763"/>
                <a:gd name="T90" fmla="*/ 2147483647 w 4146"/>
                <a:gd name="T91" fmla="*/ 2147483647 h 4763"/>
                <a:gd name="T92" fmla="*/ 2147483647 w 4146"/>
                <a:gd name="T93" fmla="*/ 2147483647 h 4763"/>
                <a:gd name="T94" fmla="*/ 2147483647 w 4146"/>
                <a:gd name="T95" fmla="*/ 2147483647 h 4763"/>
                <a:gd name="T96" fmla="*/ 2147483647 w 4146"/>
                <a:gd name="T97" fmla="*/ 2147483647 h 4763"/>
                <a:gd name="T98" fmla="*/ 2147483647 w 4146"/>
                <a:gd name="T99" fmla="*/ 2147483647 h 4763"/>
                <a:gd name="T100" fmla="*/ 2147483647 w 4146"/>
                <a:gd name="T101" fmla="*/ 2147483647 h 4763"/>
                <a:gd name="T102" fmla="*/ 2147483647 w 4146"/>
                <a:gd name="T103" fmla="*/ 2147483647 h 4763"/>
                <a:gd name="T104" fmla="*/ 2147483647 w 4146"/>
                <a:gd name="T105" fmla="*/ 2147483647 h 4763"/>
                <a:gd name="T106" fmla="*/ 2147483647 w 4146"/>
                <a:gd name="T107" fmla="*/ 2147483647 h 4763"/>
                <a:gd name="T108" fmla="*/ 2147483647 w 4146"/>
                <a:gd name="T109" fmla="*/ 2147483647 h 4763"/>
                <a:gd name="T110" fmla="*/ 2147483647 w 4146"/>
                <a:gd name="T111" fmla="*/ 2147483647 h 4763"/>
                <a:gd name="T112" fmla="*/ 2147483647 w 4146"/>
                <a:gd name="T113" fmla="*/ 2147483647 h 4763"/>
                <a:gd name="T114" fmla="*/ 2147483647 w 4146"/>
                <a:gd name="T115" fmla="*/ 2147483647 h 4763"/>
                <a:gd name="T116" fmla="*/ 2147483647 w 4146"/>
                <a:gd name="T117" fmla="*/ 2147483647 h 4763"/>
                <a:gd name="T118" fmla="*/ 2147483647 w 4146"/>
                <a:gd name="T119" fmla="*/ 2147483647 h 4763"/>
                <a:gd name="T120" fmla="*/ 2147483647 w 4146"/>
                <a:gd name="T121" fmla="*/ 2147483647 h 4763"/>
                <a:gd name="T122" fmla="*/ 2147483647 w 4146"/>
                <a:gd name="T123" fmla="*/ 2147483647 h 4763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4146"/>
                <a:gd name="T187" fmla="*/ 0 h 4763"/>
                <a:gd name="T188" fmla="*/ 4146 w 4146"/>
                <a:gd name="T189" fmla="*/ 4763 h 4763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4146" h="4763">
                  <a:moveTo>
                    <a:pt x="4046" y="4763"/>
                  </a:moveTo>
                  <a:lnTo>
                    <a:pt x="102" y="4763"/>
                  </a:lnTo>
                  <a:lnTo>
                    <a:pt x="102" y="1765"/>
                  </a:lnTo>
                  <a:lnTo>
                    <a:pt x="317" y="1765"/>
                  </a:lnTo>
                  <a:lnTo>
                    <a:pt x="317" y="4548"/>
                  </a:lnTo>
                  <a:lnTo>
                    <a:pt x="3200" y="4548"/>
                  </a:lnTo>
                  <a:lnTo>
                    <a:pt x="3200" y="3914"/>
                  </a:lnTo>
                  <a:lnTo>
                    <a:pt x="3827" y="3914"/>
                  </a:lnTo>
                  <a:lnTo>
                    <a:pt x="3829" y="3913"/>
                  </a:lnTo>
                  <a:lnTo>
                    <a:pt x="3827" y="1765"/>
                  </a:lnTo>
                  <a:lnTo>
                    <a:pt x="4042" y="1765"/>
                  </a:lnTo>
                  <a:lnTo>
                    <a:pt x="4046" y="4763"/>
                  </a:lnTo>
                  <a:close/>
                  <a:moveTo>
                    <a:pt x="3826" y="4042"/>
                  </a:moveTo>
                  <a:lnTo>
                    <a:pt x="3308" y="4042"/>
                  </a:lnTo>
                  <a:lnTo>
                    <a:pt x="3308" y="4560"/>
                  </a:lnTo>
                  <a:lnTo>
                    <a:pt x="3826" y="4042"/>
                  </a:lnTo>
                  <a:close/>
                  <a:moveTo>
                    <a:pt x="3481" y="4560"/>
                  </a:moveTo>
                  <a:lnTo>
                    <a:pt x="3831" y="4560"/>
                  </a:lnTo>
                  <a:lnTo>
                    <a:pt x="3831" y="4214"/>
                  </a:lnTo>
                  <a:lnTo>
                    <a:pt x="3481" y="4560"/>
                  </a:lnTo>
                  <a:close/>
                  <a:moveTo>
                    <a:pt x="2022" y="3171"/>
                  </a:moveTo>
                  <a:lnTo>
                    <a:pt x="2022" y="3171"/>
                  </a:lnTo>
                  <a:lnTo>
                    <a:pt x="2021" y="3206"/>
                  </a:lnTo>
                  <a:lnTo>
                    <a:pt x="2019" y="3240"/>
                  </a:lnTo>
                  <a:lnTo>
                    <a:pt x="2015" y="3272"/>
                  </a:lnTo>
                  <a:lnTo>
                    <a:pt x="2010" y="3303"/>
                  </a:lnTo>
                  <a:lnTo>
                    <a:pt x="2003" y="3333"/>
                  </a:lnTo>
                  <a:lnTo>
                    <a:pt x="1995" y="3362"/>
                  </a:lnTo>
                  <a:lnTo>
                    <a:pt x="1986" y="3391"/>
                  </a:lnTo>
                  <a:lnTo>
                    <a:pt x="1975" y="3418"/>
                  </a:lnTo>
                  <a:lnTo>
                    <a:pt x="1961" y="3443"/>
                  </a:lnTo>
                  <a:lnTo>
                    <a:pt x="1948" y="3467"/>
                  </a:lnTo>
                  <a:lnTo>
                    <a:pt x="1933" y="3492"/>
                  </a:lnTo>
                  <a:lnTo>
                    <a:pt x="1917" y="3513"/>
                  </a:lnTo>
                  <a:lnTo>
                    <a:pt x="1899" y="3535"/>
                  </a:lnTo>
                  <a:lnTo>
                    <a:pt x="1881" y="3556"/>
                  </a:lnTo>
                  <a:lnTo>
                    <a:pt x="1860" y="3575"/>
                  </a:lnTo>
                  <a:lnTo>
                    <a:pt x="1838" y="3592"/>
                  </a:lnTo>
                  <a:lnTo>
                    <a:pt x="1816" y="3610"/>
                  </a:lnTo>
                  <a:lnTo>
                    <a:pt x="1792" y="3626"/>
                  </a:lnTo>
                  <a:lnTo>
                    <a:pt x="1766" y="3641"/>
                  </a:lnTo>
                  <a:lnTo>
                    <a:pt x="1741" y="3654"/>
                  </a:lnTo>
                  <a:lnTo>
                    <a:pt x="1714" y="3668"/>
                  </a:lnTo>
                  <a:lnTo>
                    <a:pt x="1684" y="3680"/>
                  </a:lnTo>
                  <a:lnTo>
                    <a:pt x="1655" y="3689"/>
                  </a:lnTo>
                  <a:lnTo>
                    <a:pt x="1624" y="3700"/>
                  </a:lnTo>
                  <a:lnTo>
                    <a:pt x="1591" y="3708"/>
                  </a:lnTo>
                  <a:lnTo>
                    <a:pt x="1559" y="3715"/>
                  </a:lnTo>
                  <a:lnTo>
                    <a:pt x="1524" y="3722"/>
                  </a:lnTo>
                  <a:lnTo>
                    <a:pt x="1489" y="3727"/>
                  </a:lnTo>
                  <a:lnTo>
                    <a:pt x="1453" y="3730"/>
                  </a:lnTo>
                  <a:lnTo>
                    <a:pt x="1417" y="3734"/>
                  </a:lnTo>
                  <a:lnTo>
                    <a:pt x="1378" y="3735"/>
                  </a:lnTo>
                  <a:lnTo>
                    <a:pt x="1339" y="3735"/>
                  </a:lnTo>
                  <a:lnTo>
                    <a:pt x="1289" y="3734"/>
                  </a:lnTo>
                  <a:lnTo>
                    <a:pt x="1239" y="3731"/>
                  </a:lnTo>
                  <a:lnTo>
                    <a:pt x="1191" y="3724"/>
                  </a:lnTo>
                  <a:lnTo>
                    <a:pt x="1145" y="3716"/>
                  </a:lnTo>
                  <a:lnTo>
                    <a:pt x="1099" y="3704"/>
                  </a:lnTo>
                  <a:lnTo>
                    <a:pt x="1056" y="3692"/>
                  </a:lnTo>
                  <a:lnTo>
                    <a:pt x="1013" y="3677"/>
                  </a:lnTo>
                  <a:lnTo>
                    <a:pt x="971" y="3660"/>
                  </a:lnTo>
                  <a:lnTo>
                    <a:pt x="932" y="3641"/>
                  </a:lnTo>
                  <a:lnTo>
                    <a:pt x="893" y="3621"/>
                  </a:lnTo>
                  <a:lnTo>
                    <a:pt x="857" y="3598"/>
                  </a:lnTo>
                  <a:lnTo>
                    <a:pt x="822" y="3575"/>
                  </a:lnTo>
                  <a:lnTo>
                    <a:pt x="787" y="3548"/>
                  </a:lnTo>
                  <a:lnTo>
                    <a:pt x="755" y="3521"/>
                  </a:lnTo>
                  <a:lnTo>
                    <a:pt x="722" y="3493"/>
                  </a:lnTo>
                  <a:lnTo>
                    <a:pt x="693" y="3463"/>
                  </a:lnTo>
                  <a:lnTo>
                    <a:pt x="908" y="3237"/>
                  </a:lnTo>
                  <a:lnTo>
                    <a:pt x="931" y="3259"/>
                  </a:lnTo>
                  <a:lnTo>
                    <a:pt x="955" y="3279"/>
                  </a:lnTo>
                  <a:lnTo>
                    <a:pt x="979" y="3299"/>
                  </a:lnTo>
                  <a:lnTo>
                    <a:pt x="1004" y="3317"/>
                  </a:lnTo>
                  <a:lnTo>
                    <a:pt x="1029" y="3334"/>
                  </a:lnTo>
                  <a:lnTo>
                    <a:pt x="1055" y="3350"/>
                  </a:lnTo>
                  <a:lnTo>
                    <a:pt x="1080" y="3365"/>
                  </a:lnTo>
                  <a:lnTo>
                    <a:pt x="1107" y="3379"/>
                  </a:lnTo>
                  <a:lnTo>
                    <a:pt x="1135" y="3391"/>
                  </a:lnTo>
                  <a:lnTo>
                    <a:pt x="1162" y="3401"/>
                  </a:lnTo>
                  <a:lnTo>
                    <a:pt x="1192" y="3411"/>
                  </a:lnTo>
                  <a:lnTo>
                    <a:pt x="1221" y="3418"/>
                  </a:lnTo>
                  <a:lnTo>
                    <a:pt x="1251" y="3423"/>
                  </a:lnTo>
                  <a:lnTo>
                    <a:pt x="1282" y="3427"/>
                  </a:lnTo>
                  <a:lnTo>
                    <a:pt x="1314" y="3430"/>
                  </a:lnTo>
                  <a:lnTo>
                    <a:pt x="1347" y="3431"/>
                  </a:lnTo>
                  <a:lnTo>
                    <a:pt x="1387" y="3430"/>
                  </a:lnTo>
                  <a:lnTo>
                    <a:pt x="1425" y="3427"/>
                  </a:lnTo>
                  <a:lnTo>
                    <a:pt x="1460" y="3422"/>
                  </a:lnTo>
                  <a:lnTo>
                    <a:pt x="1492" y="3415"/>
                  </a:lnTo>
                  <a:lnTo>
                    <a:pt x="1520" y="3405"/>
                  </a:lnTo>
                  <a:lnTo>
                    <a:pt x="1547" y="3393"/>
                  </a:lnTo>
                  <a:lnTo>
                    <a:pt x="1571" y="3380"/>
                  </a:lnTo>
                  <a:lnTo>
                    <a:pt x="1582" y="3373"/>
                  </a:lnTo>
                  <a:lnTo>
                    <a:pt x="1591" y="3365"/>
                  </a:lnTo>
                  <a:lnTo>
                    <a:pt x="1610" y="3348"/>
                  </a:lnTo>
                  <a:lnTo>
                    <a:pt x="1626" y="3329"/>
                  </a:lnTo>
                  <a:lnTo>
                    <a:pt x="1640" y="3307"/>
                  </a:lnTo>
                  <a:lnTo>
                    <a:pt x="1651" y="3284"/>
                  </a:lnTo>
                  <a:lnTo>
                    <a:pt x="1660" y="3260"/>
                  </a:lnTo>
                  <a:lnTo>
                    <a:pt x="1665" y="3235"/>
                  </a:lnTo>
                  <a:lnTo>
                    <a:pt x="1669" y="3206"/>
                  </a:lnTo>
                  <a:lnTo>
                    <a:pt x="1671" y="3177"/>
                  </a:lnTo>
                  <a:lnTo>
                    <a:pt x="1669" y="3147"/>
                  </a:lnTo>
                  <a:lnTo>
                    <a:pt x="1667" y="3120"/>
                  </a:lnTo>
                  <a:lnTo>
                    <a:pt x="1660" y="3093"/>
                  </a:lnTo>
                  <a:lnTo>
                    <a:pt x="1652" y="3069"/>
                  </a:lnTo>
                  <a:lnTo>
                    <a:pt x="1648" y="3057"/>
                  </a:lnTo>
                  <a:lnTo>
                    <a:pt x="1641" y="3046"/>
                  </a:lnTo>
                  <a:lnTo>
                    <a:pt x="1636" y="3035"/>
                  </a:lnTo>
                  <a:lnTo>
                    <a:pt x="1629" y="3025"/>
                  </a:lnTo>
                  <a:lnTo>
                    <a:pt x="1621" y="3015"/>
                  </a:lnTo>
                  <a:lnTo>
                    <a:pt x="1613" y="3007"/>
                  </a:lnTo>
                  <a:lnTo>
                    <a:pt x="1604" y="2999"/>
                  </a:lnTo>
                  <a:lnTo>
                    <a:pt x="1594" y="2991"/>
                  </a:lnTo>
                  <a:lnTo>
                    <a:pt x="1573" y="2976"/>
                  </a:lnTo>
                  <a:lnTo>
                    <a:pt x="1550" y="2964"/>
                  </a:lnTo>
                  <a:lnTo>
                    <a:pt x="1523" y="2953"/>
                  </a:lnTo>
                  <a:lnTo>
                    <a:pt x="1493" y="2944"/>
                  </a:lnTo>
                  <a:lnTo>
                    <a:pt x="1462" y="2937"/>
                  </a:lnTo>
                  <a:lnTo>
                    <a:pt x="1429" y="2932"/>
                  </a:lnTo>
                  <a:lnTo>
                    <a:pt x="1391" y="2929"/>
                  </a:lnTo>
                  <a:lnTo>
                    <a:pt x="1352" y="2928"/>
                  </a:lnTo>
                  <a:lnTo>
                    <a:pt x="1174" y="2928"/>
                  </a:lnTo>
                  <a:lnTo>
                    <a:pt x="1174" y="2637"/>
                  </a:lnTo>
                  <a:lnTo>
                    <a:pt x="1344" y="2637"/>
                  </a:lnTo>
                  <a:lnTo>
                    <a:pt x="1378" y="2636"/>
                  </a:lnTo>
                  <a:lnTo>
                    <a:pt x="1408" y="2633"/>
                  </a:lnTo>
                  <a:lnTo>
                    <a:pt x="1437" y="2629"/>
                  </a:lnTo>
                  <a:lnTo>
                    <a:pt x="1462" y="2622"/>
                  </a:lnTo>
                  <a:lnTo>
                    <a:pt x="1486" y="2614"/>
                  </a:lnTo>
                  <a:lnTo>
                    <a:pt x="1507" y="2605"/>
                  </a:lnTo>
                  <a:lnTo>
                    <a:pt x="1525" y="2594"/>
                  </a:lnTo>
                  <a:lnTo>
                    <a:pt x="1542" y="2581"/>
                  </a:lnTo>
                  <a:lnTo>
                    <a:pt x="1556" y="2566"/>
                  </a:lnTo>
                  <a:lnTo>
                    <a:pt x="1569" y="2550"/>
                  </a:lnTo>
                  <a:lnTo>
                    <a:pt x="1579" y="2532"/>
                  </a:lnTo>
                  <a:lnTo>
                    <a:pt x="1587" y="2512"/>
                  </a:lnTo>
                  <a:lnTo>
                    <a:pt x="1594" y="2492"/>
                  </a:lnTo>
                  <a:lnTo>
                    <a:pt x="1599" y="2469"/>
                  </a:lnTo>
                  <a:lnTo>
                    <a:pt x="1602" y="2445"/>
                  </a:lnTo>
                  <a:lnTo>
                    <a:pt x="1604" y="2419"/>
                  </a:lnTo>
                  <a:lnTo>
                    <a:pt x="1602" y="2395"/>
                  </a:lnTo>
                  <a:lnTo>
                    <a:pt x="1599" y="2372"/>
                  </a:lnTo>
                  <a:lnTo>
                    <a:pt x="1594" y="2351"/>
                  </a:lnTo>
                  <a:lnTo>
                    <a:pt x="1587" y="2330"/>
                  </a:lnTo>
                  <a:lnTo>
                    <a:pt x="1578" y="2312"/>
                  </a:lnTo>
                  <a:lnTo>
                    <a:pt x="1567" y="2294"/>
                  </a:lnTo>
                  <a:lnTo>
                    <a:pt x="1554" y="2278"/>
                  </a:lnTo>
                  <a:lnTo>
                    <a:pt x="1539" y="2263"/>
                  </a:lnTo>
                  <a:lnTo>
                    <a:pt x="1520" y="2250"/>
                  </a:lnTo>
                  <a:lnTo>
                    <a:pt x="1500" y="2238"/>
                  </a:lnTo>
                  <a:lnTo>
                    <a:pt x="1477" y="2228"/>
                  </a:lnTo>
                  <a:lnTo>
                    <a:pt x="1452" y="2219"/>
                  </a:lnTo>
                  <a:lnTo>
                    <a:pt x="1425" y="2212"/>
                  </a:lnTo>
                  <a:lnTo>
                    <a:pt x="1394" y="2207"/>
                  </a:lnTo>
                  <a:lnTo>
                    <a:pt x="1360" y="2204"/>
                  </a:lnTo>
                  <a:lnTo>
                    <a:pt x="1324" y="2203"/>
                  </a:lnTo>
                  <a:lnTo>
                    <a:pt x="1297" y="2204"/>
                  </a:lnTo>
                  <a:lnTo>
                    <a:pt x="1270" y="2205"/>
                  </a:lnTo>
                  <a:lnTo>
                    <a:pt x="1243" y="2209"/>
                  </a:lnTo>
                  <a:lnTo>
                    <a:pt x="1217" y="2213"/>
                  </a:lnTo>
                  <a:lnTo>
                    <a:pt x="1193" y="2220"/>
                  </a:lnTo>
                  <a:lnTo>
                    <a:pt x="1168" y="2228"/>
                  </a:lnTo>
                  <a:lnTo>
                    <a:pt x="1145" y="2236"/>
                  </a:lnTo>
                  <a:lnTo>
                    <a:pt x="1121" y="2247"/>
                  </a:lnTo>
                  <a:lnTo>
                    <a:pt x="1099" y="2258"/>
                  </a:lnTo>
                  <a:lnTo>
                    <a:pt x="1076" y="2270"/>
                  </a:lnTo>
                  <a:lnTo>
                    <a:pt x="1055" y="2282"/>
                  </a:lnTo>
                  <a:lnTo>
                    <a:pt x="1033" y="2297"/>
                  </a:lnTo>
                  <a:lnTo>
                    <a:pt x="1012" y="2312"/>
                  </a:lnTo>
                  <a:lnTo>
                    <a:pt x="990" y="2328"/>
                  </a:lnTo>
                  <a:lnTo>
                    <a:pt x="970" y="2345"/>
                  </a:lnTo>
                  <a:lnTo>
                    <a:pt x="948" y="2363"/>
                  </a:lnTo>
                  <a:lnTo>
                    <a:pt x="751" y="2137"/>
                  </a:lnTo>
                  <a:lnTo>
                    <a:pt x="776" y="2114"/>
                  </a:lnTo>
                  <a:lnTo>
                    <a:pt x="803" y="2091"/>
                  </a:lnTo>
                  <a:lnTo>
                    <a:pt x="831" y="2069"/>
                  </a:lnTo>
                  <a:lnTo>
                    <a:pt x="861" y="2048"/>
                  </a:lnTo>
                  <a:lnTo>
                    <a:pt x="892" y="2028"/>
                  </a:lnTo>
                  <a:lnTo>
                    <a:pt x="924" y="2007"/>
                  </a:lnTo>
                  <a:lnTo>
                    <a:pt x="958" y="1990"/>
                  </a:lnTo>
                  <a:lnTo>
                    <a:pt x="994" y="1974"/>
                  </a:lnTo>
                  <a:lnTo>
                    <a:pt x="1030" y="1959"/>
                  </a:lnTo>
                  <a:lnTo>
                    <a:pt x="1069" y="1946"/>
                  </a:lnTo>
                  <a:lnTo>
                    <a:pt x="1110" y="1933"/>
                  </a:lnTo>
                  <a:lnTo>
                    <a:pt x="1150" y="1923"/>
                  </a:lnTo>
                  <a:lnTo>
                    <a:pt x="1195" y="1915"/>
                  </a:lnTo>
                  <a:lnTo>
                    <a:pt x="1239" y="1908"/>
                  </a:lnTo>
                  <a:lnTo>
                    <a:pt x="1286" y="1905"/>
                  </a:lnTo>
                  <a:lnTo>
                    <a:pt x="1334" y="1904"/>
                  </a:lnTo>
                  <a:lnTo>
                    <a:pt x="1368" y="1904"/>
                  </a:lnTo>
                  <a:lnTo>
                    <a:pt x="1402" y="1905"/>
                  </a:lnTo>
                  <a:lnTo>
                    <a:pt x="1434" y="1908"/>
                  </a:lnTo>
                  <a:lnTo>
                    <a:pt x="1466" y="1911"/>
                  </a:lnTo>
                  <a:lnTo>
                    <a:pt x="1497" y="1915"/>
                  </a:lnTo>
                  <a:lnTo>
                    <a:pt x="1527" y="1920"/>
                  </a:lnTo>
                  <a:lnTo>
                    <a:pt x="1556" y="1925"/>
                  </a:lnTo>
                  <a:lnTo>
                    <a:pt x="1586" y="1932"/>
                  </a:lnTo>
                  <a:lnTo>
                    <a:pt x="1613" y="1939"/>
                  </a:lnTo>
                  <a:lnTo>
                    <a:pt x="1640" y="1947"/>
                  </a:lnTo>
                  <a:lnTo>
                    <a:pt x="1667" y="1956"/>
                  </a:lnTo>
                  <a:lnTo>
                    <a:pt x="1691" y="1967"/>
                  </a:lnTo>
                  <a:lnTo>
                    <a:pt x="1715" y="1978"/>
                  </a:lnTo>
                  <a:lnTo>
                    <a:pt x="1738" y="1990"/>
                  </a:lnTo>
                  <a:lnTo>
                    <a:pt x="1761" y="2003"/>
                  </a:lnTo>
                  <a:lnTo>
                    <a:pt x="1781" y="2017"/>
                  </a:lnTo>
                  <a:lnTo>
                    <a:pt x="1801" y="2032"/>
                  </a:lnTo>
                  <a:lnTo>
                    <a:pt x="1820" y="2048"/>
                  </a:lnTo>
                  <a:lnTo>
                    <a:pt x="1838" y="2065"/>
                  </a:lnTo>
                  <a:lnTo>
                    <a:pt x="1855" y="2084"/>
                  </a:lnTo>
                  <a:lnTo>
                    <a:pt x="1870" y="2103"/>
                  </a:lnTo>
                  <a:lnTo>
                    <a:pt x="1885" y="2123"/>
                  </a:lnTo>
                  <a:lnTo>
                    <a:pt x="1898" y="2143"/>
                  </a:lnTo>
                  <a:lnTo>
                    <a:pt x="1910" y="2166"/>
                  </a:lnTo>
                  <a:lnTo>
                    <a:pt x="1921" y="2189"/>
                  </a:lnTo>
                  <a:lnTo>
                    <a:pt x="1930" y="2213"/>
                  </a:lnTo>
                  <a:lnTo>
                    <a:pt x="1938" y="2239"/>
                  </a:lnTo>
                  <a:lnTo>
                    <a:pt x="1944" y="2264"/>
                  </a:lnTo>
                  <a:lnTo>
                    <a:pt x="1949" y="2293"/>
                  </a:lnTo>
                  <a:lnTo>
                    <a:pt x="1953" y="2321"/>
                  </a:lnTo>
                  <a:lnTo>
                    <a:pt x="1955" y="2349"/>
                  </a:lnTo>
                  <a:lnTo>
                    <a:pt x="1956" y="2380"/>
                  </a:lnTo>
                  <a:lnTo>
                    <a:pt x="1955" y="2418"/>
                  </a:lnTo>
                  <a:lnTo>
                    <a:pt x="1951" y="2454"/>
                  </a:lnTo>
                  <a:lnTo>
                    <a:pt x="1945" y="2488"/>
                  </a:lnTo>
                  <a:lnTo>
                    <a:pt x="1937" y="2519"/>
                  </a:lnTo>
                  <a:lnTo>
                    <a:pt x="1926" y="2548"/>
                  </a:lnTo>
                  <a:lnTo>
                    <a:pt x="1916" y="2575"/>
                  </a:lnTo>
                  <a:lnTo>
                    <a:pt x="1901" y="2601"/>
                  </a:lnTo>
                  <a:lnTo>
                    <a:pt x="1885" y="2625"/>
                  </a:lnTo>
                  <a:lnTo>
                    <a:pt x="1869" y="2648"/>
                  </a:lnTo>
                  <a:lnTo>
                    <a:pt x="1850" y="2668"/>
                  </a:lnTo>
                  <a:lnTo>
                    <a:pt x="1830" y="2687"/>
                  </a:lnTo>
                  <a:lnTo>
                    <a:pt x="1808" y="2704"/>
                  </a:lnTo>
                  <a:lnTo>
                    <a:pt x="1786" y="2721"/>
                  </a:lnTo>
                  <a:lnTo>
                    <a:pt x="1764" y="2737"/>
                  </a:lnTo>
                  <a:lnTo>
                    <a:pt x="1739" y="2750"/>
                  </a:lnTo>
                  <a:lnTo>
                    <a:pt x="1714" y="2764"/>
                  </a:lnTo>
                  <a:lnTo>
                    <a:pt x="1743" y="2772"/>
                  </a:lnTo>
                  <a:lnTo>
                    <a:pt x="1773" y="2784"/>
                  </a:lnTo>
                  <a:lnTo>
                    <a:pt x="1801" y="2796"/>
                  </a:lnTo>
                  <a:lnTo>
                    <a:pt x="1830" y="2811"/>
                  </a:lnTo>
                  <a:lnTo>
                    <a:pt x="1856" y="2828"/>
                  </a:lnTo>
                  <a:lnTo>
                    <a:pt x="1882" y="2847"/>
                  </a:lnTo>
                  <a:lnTo>
                    <a:pt x="1905" y="2869"/>
                  </a:lnTo>
                  <a:lnTo>
                    <a:pt x="1928" y="2891"/>
                  </a:lnTo>
                  <a:lnTo>
                    <a:pt x="1938" y="2905"/>
                  </a:lnTo>
                  <a:lnTo>
                    <a:pt x="1948" y="2918"/>
                  </a:lnTo>
                  <a:lnTo>
                    <a:pt x="1957" y="2932"/>
                  </a:lnTo>
                  <a:lnTo>
                    <a:pt x="1965" y="2947"/>
                  </a:lnTo>
                  <a:lnTo>
                    <a:pt x="1982" y="2978"/>
                  </a:lnTo>
                  <a:lnTo>
                    <a:pt x="1995" y="3011"/>
                  </a:lnTo>
                  <a:lnTo>
                    <a:pt x="2002" y="3029"/>
                  </a:lnTo>
                  <a:lnTo>
                    <a:pt x="2007" y="3046"/>
                  </a:lnTo>
                  <a:lnTo>
                    <a:pt x="2011" y="3066"/>
                  </a:lnTo>
                  <a:lnTo>
                    <a:pt x="2015" y="3085"/>
                  </a:lnTo>
                  <a:lnTo>
                    <a:pt x="2018" y="3107"/>
                  </a:lnTo>
                  <a:lnTo>
                    <a:pt x="2019" y="3127"/>
                  </a:lnTo>
                  <a:lnTo>
                    <a:pt x="2021" y="3150"/>
                  </a:lnTo>
                  <a:lnTo>
                    <a:pt x="2022" y="3171"/>
                  </a:lnTo>
                  <a:close/>
                  <a:moveTo>
                    <a:pt x="2296" y="3707"/>
                  </a:moveTo>
                  <a:lnTo>
                    <a:pt x="2296" y="3419"/>
                  </a:lnTo>
                  <a:lnTo>
                    <a:pt x="2704" y="3419"/>
                  </a:lnTo>
                  <a:lnTo>
                    <a:pt x="2704" y="2407"/>
                  </a:lnTo>
                  <a:lnTo>
                    <a:pt x="2331" y="2407"/>
                  </a:lnTo>
                  <a:lnTo>
                    <a:pt x="2331" y="2168"/>
                  </a:lnTo>
                  <a:lnTo>
                    <a:pt x="2380" y="2165"/>
                  </a:lnTo>
                  <a:lnTo>
                    <a:pt x="2425" y="2161"/>
                  </a:lnTo>
                  <a:lnTo>
                    <a:pt x="2467" y="2155"/>
                  </a:lnTo>
                  <a:lnTo>
                    <a:pt x="2505" y="2150"/>
                  </a:lnTo>
                  <a:lnTo>
                    <a:pt x="2540" y="2142"/>
                  </a:lnTo>
                  <a:lnTo>
                    <a:pt x="2572" y="2131"/>
                  </a:lnTo>
                  <a:lnTo>
                    <a:pt x="2602" y="2120"/>
                  </a:lnTo>
                  <a:lnTo>
                    <a:pt x="2629" y="2108"/>
                  </a:lnTo>
                  <a:lnTo>
                    <a:pt x="2653" y="2092"/>
                  </a:lnTo>
                  <a:lnTo>
                    <a:pt x="2674" y="2076"/>
                  </a:lnTo>
                  <a:lnTo>
                    <a:pt x="2693" y="2057"/>
                  </a:lnTo>
                  <a:lnTo>
                    <a:pt x="2709" y="2036"/>
                  </a:lnTo>
                  <a:lnTo>
                    <a:pt x="2724" y="2013"/>
                  </a:lnTo>
                  <a:lnTo>
                    <a:pt x="2736" y="1987"/>
                  </a:lnTo>
                  <a:lnTo>
                    <a:pt x="2748" y="1960"/>
                  </a:lnTo>
                  <a:lnTo>
                    <a:pt x="2756" y="1931"/>
                  </a:lnTo>
                  <a:lnTo>
                    <a:pt x="3062" y="1931"/>
                  </a:lnTo>
                  <a:lnTo>
                    <a:pt x="3062" y="3419"/>
                  </a:lnTo>
                  <a:lnTo>
                    <a:pt x="3432" y="3419"/>
                  </a:lnTo>
                  <a:lnTo>
                    <a:pt x="3432" y="3707"/>
                  </a:lnTo>
                  <a:lnTo>
                    <a:pt x="2296" y="3707"/>
                  </a:lnTo>
                  <a:close/>
                  <a:moveTo>
                    <a:pt x="4146" y="237"/>
                  </a:moveTo>
                  <a:lnTo>
                    <a:pt x="4146" y="1550"/>
                  </a:lnTo>
                  <a:lnTo>
                    <a:pt x="0" y="1549"/>
                  </a:lnTo>
                  <a:lnTo>
                    <a:pt x="0" y="237"/>
                  </a:lnTo>
                  <a:lnTo>
                    <a:pt x="860" y="237"/>
                  </a:lnTo>
                  <a:lnTo>
                    <a:pt x="860" y="857"/>
                  </a:lnTo>
                  <a:lnTo>
                    <a:pt x="860" y="879"/>
                  </a:lnTo>
                  <a:lnTo>
                    <a:pt x="864" y="900"/>
                  </a:lnTo>
                  <a:lnTo>
                    <a:pt x="869" y="920"/>
                  </a:lnTo>
                  <a:lnTo>
                    <a:pt x="876" y="940"/>
                  </a:lnTo>
                  <a:lnTo>
                    <a:pt x="885" y="958"/>
                  </a:lnTo>
                  <a:lnTo>
                    <a:pt x="896" y="977"/>
                  </a:lnTo>
                  <a:lnTo>
                    <a:pt x="908" y="993"/>
                  </a:lnTo>
                  <a:lnTo>
                    <a:pt x="921" y="1008"/>
                  </a:lnTo>
                  <a:lnTo>
                    <a:pt x="938" y="1021"/>
                  </a:lnTo>
                  <a:lnTo>
                    <a:pt x="954" y="1033"/>
                  </a:lnTo>
                  <a:lnTo>
                    <a:pt x="971" y="1044"/>
                  </a:lnTo>
                  <a:lnTo>
                    <a:pt x="990" y="1054"/>
                  </a:lnTo>
                  <a:lnTo>
                    <a:pt x="1009" y="1060"/>
                  </a:lnTo>
                  <a:lnTo>
                    <a:pt x="1030" y="1066"/>
                  </a:lnTo>
                  <a:lnTo>
                    <a:pt x="1051" y="1070"/>
                  </a:lnTo>
                  <a:lnTo>
                    <a:pt x="1073" y="1071"/>
                  </a:lnTo>
                  <a:lnTo>
                    <a:pt x="1099" y="1071"/>
                  </a:lnTo>
                  <a:lnTo>
                    <a:pt x="1121" y="1070"/>
                  </a:lnTo>
                  <a:lnTo>
                    <a:pt x="1142" y="1066"/>
                  </a:lnTo>
                  <a:lnTo>
                    <a:pt x="1164" y="1060"/>
                  </a:lnTo>
                  <a:lnTo>
                    <a:pt x="1182" y="1054"/>
                  </a:lnTo>
                  <a:lnTo>
                    <a:pt x="1201" y="1044"/>
                  </a:lnTo>
                  <a:lnTo>
                    <a:pt x="1219" y="1033"/>
                  </a:lnTo>
                  <a:lnTo>
                    <a:pt x="1235" y="1021"/>
                  </a:lnTo>
                  <a:lnTo>
                    <a:pt x="1251" y="1008"/>
                  </a:lnTo>
                  <a:lnTo>
                    <a:pt x="1265" y="993"/>
                  </a:lnTo>
                  <a:lnTo>
                    <a:pt x="1277" y="977"/>
                  </a:lnTo>
                  <a:lnTo>
                    <a:pt x="1287" y="958"/>
                  </a:lnTo>
                  <a:lnTo>
                    <a:pt x="1297" y="940"/>
                  </a:lnTo>
                  <a:lnTo>
                    <a:pt x="1304" y="920"/>
                  </a:lnTo>
                  <a:lnTo>
                    <a:pt x="1309" y="900"/>
                  </a:lnTo>
                  <a:lnTo>
                    <a:pt x="1312" y="879"/>
                  </a:lnTo>
                  <a:lnTo>
                    <a:pt x="1313" y="857"/>
                  </a:lnTo>
                  <a:lnTo>
                    <a:pt x="1313" y="237"/>
                  </a:lnTo>
                  <a:lnTo>
                    <a:pt x="2802" y="237"/>
                  </a:lnTo>
                  <a:lnTo>
                    <a:pt x="2802" y="857"/>
                  </a:lnTo>
                  <a:lnTo>
                    <a:pt x="2803" y="879"/>
                  </a:lnTo>
                  <a:lnTo>
                    <a:pt x="2807" y="900"/>
                  </a:lnTo>
                  <a:lnTo>
                    <a:pt x="2813" y="920"/>
                  </a:lnTo>
                  <a:lnTo>
                    <a:pt x="2820" y="940"/>
                  </a:lnTo>
                  <a:lnTo>
                    <a:pt x="2829" y="958"/>
                  </a:lnTo>
                  <a:lnTo>
                    <a:pt x="2840" y="977"/>
                  </a:lnTo>
                  <a:lnTo>
                    <a:pt x="2852" y="993"/>
                  </a:lnTo>
                  <a:lnTo>
                    <a:pt x="2865" y="1008"/>
                  </a:lnTo>
                  <a:lnTo>
                    <a:pt x="2880" y="1021"/>
                  </a:lnTo>
                  <a:lnTo>
                    <a:pt x="2898" y="1033"/>
                  </a:lnTo>
                  <a:lnTo>
                    <a:pt x="2915" y="1044"/>
                  </a:lnTo>
                  <a:lnTo>
                    <a:pt x="2934" y="1054"/>
                  </a:lnTo>
                  <a:lnTo>
                    <a:pt x="2953" y="1060"/>
                  </a:lnTo>
                  <a:lnTo>
                    <a:pt x="2973" y="1066"/>
                  </a:lnTo>
                  <a:lnTo>
                    <a:pt x="2994" y="1070"/>
                  </a:lnTo>
                  <a:lnTo>
                    <a:pt x="3016" y="1071"/>
                  </a:lnTo>
                  <a:lnTo>
                    <a:pt x="3043" y="1071"/>
                  </a:lnTo>
                  <a:lnTo>
                    <a:pt x="3064" y="1070"/>
                  </a:lnTo>
                  <a:lnTo>
                    <a:pt x="3086" y="1066"/>
                  </a:lnTo>
                  <a:lnTo>
                    <a:pt x="3106" y="1060"/>
                  </a:lnTo>
                  <a:lnTo>
                    <a:pt x="3126" y="1054"/>
                  </a:lnTo>
                  <a:lnTo>
                    <a:pt x="3145" y="1044"/>
                  </a:lnTo>
                  <a:lnTo>
                    <a:pt x="3163" y="1033"/>
                  </a:lnTo>
                  <a:lnTo>
                    <a:pt x="3179" y="1021"/>
                  </a:lnTo>
                  <a:lnTo>
                    <a:pt x="3194" y="1008"/>
                  </a:lnTo>
                  <a:lnTo>
                    <a:pt x="3208" y="993"/>
                  </a:lnTo>
                  <a:lnTo>
                    <a:pt x="3220" y="977"/>
                  </a:lnTo>
                  <a:lnTo>
                    <a:pt x="3231" y="958"/>
                  </a:lnTo>
                  <a:lnTo>
                    <a:pt x="3241" y="940"/>
                  </a:lnTo>
                  <a:lnTo>
                    <a:pt x="3247" y="920"/>
                  </a:lnTo>
                  <a:lnTo>
                    <a:pt x="3253" y="900"/>
                  </a:lnTo>
                  <a:lnTo>
                    <a:pt x="3255" y="879"/>
                  </a:lnTo>
                  <a:lnTo>
                    <a:pt x="3257" y="857"/>
                  </a:lnTo>
                  <a:lnTo>
                    <a:pt x="3257" y="237"/>
                  </a:lnTo>
                  <a:lnTo>
                    <a:pt x="4146" y="237"/>
                  </a:lnTo>
                  <a:close/>
                  <a:moveTo>
                    <a:pt x="1073" y="0"/>
                  </a:moveTo>
                  <a:lnTo>
                    <a:pt x="1099" y="0"/>
                  </a:lnTo>
                  <a:lnTo>
                    <a:pt x="1110" y="1"/>
                  </a:lnTo>
                  <a:lnTo>
                    <a:pt x="1121" y="3"/>
                  </a:lnTo>
                  <a:lnTo>
                    <a:pt x="1131" y="5"/>
                  </a:lnTo>
                  <a:lnTo>
                    <a:pt x="1141" y="9"/>
                  </a:lnTo>
                  <a:lnTo>
                    <a:pt x="1150" y="13"/>
                  </a:lnTo>
                  <a:lnTo>
                    <a:pt x="1158" y="19"/>
                  </a:lnTo>
                  <a:lnTo>
                    <a:pt x="1168" y="26"/>
                  </a:lnTo>
                  <a:lnTo>
                    <a:pt x="1174" y="32"/>
                  </a:lnTo>
                  <a:lnTo>
                    <a:pt x="1181" y="39"/>
                  </a:lnTo>
                  <a:lnTo>
                    <a:pt x="1188" y="47"/>
                  </a:lnTo>
                  <a:lnTo>
                    <a:pt x="1193" y="57"/>
                  </a:lnTo>
                  <a:lnTo>
                    <a:pt x="1197" y="66"/>
                  </a:lnTo>
                  <a:lnTo>
                    <a:pt x="1201" y="75"/>
                  </a:lnTo>
                  <a:lnTo>
                    <a:pt x="1204" y="86"/>
                  </a:lnTo>
                  <a:lnTo>
                    <a:pt x="1205" y="96"/>
                  </a:lnTo>
                  <a:lnTo>
                    <a:pt x="1205" y="108"/>
                  </a:lnTo>
                  <a:lnTo>
                    <a:pt x="1205" y="857"/>
                  </a:lnTo>
                  <a:lnTo>
                    <a:pt x="1205" y="868"/>
                  </a:lnTo>
                  <a:lnTo>
                    <a:pt x="1204" y="879"/>
                  </a:lnTo>
                  <a:lnTo>
                    <a:pt x="1201" y="888"/>
                  </a:lnTo>
                  <a:lnTo>
                    <a:pt x="1197" y="897"/>
                  </a:lnTo>
                  <a:lnTo>
                    <a:pt x="1193" y="907"/>
                  </a:lnTo>
                  <a:lnTo>
                    <a:pt x="1188" y="916"/>
                  </a:lnTo>
                  <a:lnTo>
                    <a:pt x="1181" y="924"/>
                  </a:lnTo>
                  <a:lnTo>
                    <a:pt x="1174" y="931"/>
                  </a:lnTo>
                  <a:lnTo>
                    <a:pt x="1168" y="939"/>
                  </a:lnTo>
                  <a:lnTo>
                    <a:pt x="1158" y="945"/>
                  </a:lnTo>
                  <a:lnTo>
                    <a:pt x="1150" y="950"/>
                  </a:lnTo>
                  <a:lnTo>
                    <a:pt x="1141" y="954"/>
                  </a:lnTo>
                  <a:lnTo>
                    <a:pt x="1131" y="958"/>
                  </a:lnTo>
                  <a:lnTo>
                    <a:pt x="1121" y="961"/>
                  </a:lnTo>
                  <a:lnTo>
                    <a:pt x="1110" y="962"/>
                  </a:lnTo>
                  <a:lnTo>
                    <a:pt x="1099" y="963"/>
                  </a:lnTo>
                  <a:lnTo>
                    <a:pt x="1073" y="963"/>
                  </a:lnTo>
                  <a:lnTo>
                    <a:pt x="1063" y="962"/>
                  </a:lnTo>
                  <a:lnTo>
                    <a:pt x="1052" y="961"/>
                  </a:lnTo>
                  <a:lnTo>
                    <a:pt x="1041" y="958"/>
                  </a:lnTo>
                  <a:lnTo>
                    <a:pt x="1032" y="954"/>
                  </a:lnTo>
                  <a:lnTo>
                    <a:pt x="1022" y="950"/>
                  </a:lnTo>
                  <a:lnTo>
                    <a:pt x="1013" y="945"/>
                  </a:lnTo>
                  <a:lnTo>
                    <a:pt x="1005" y="939"/>
                  </a:lnTo>
                  <a:lnTo>
                    <a:pt x="998" y="931"/>
                  </a:lnTo>
                  <a:lnTo>
                    <a:pt x="991" y="924"/>
                  </a:lnTo>
                  <a:lnTo>
                    <a:pt x="985" y="916"/>
                  </a:lnTo>
                  <a:lnTo>
                    <a:pt x="979" y="907"/>
                  </a:lnTo>
                  <a:lnTo>
                    <a:pt x="975" y="897"/>
                  </a:lnTo>
                  <a:lnTo>
                    <a:pt x="971" y="888"/>
                  </a:lnTo>
                  <a:lnTo>
                    <a:pt x="969" y="879"/>
                  </a:lnTo>
                  <a:lnTo>
                    <a:pt x="967" y="868"/>
                  </a:lnTo>
                  <a:lnTo>
                    <a:pt x="967" y="857"/>
                  </a:lnTo>
                  <a:lnTo>
                    <a:pt x="967" y="108"/>
                  </a:lnTo>
                  <a:lnTo>
                    <a:pt x="967" y="96"/>
                  </a:lnTo>
                  <a:lnTo>
                    <a:pt x="969" y="86"/>
                  </a:lnTo>
                  <a:lnTo>
                    <a:pt x="971" y="75"/>
                  </a:lnTo>
                  <a:lnTo>
                    <a:pt x="975" y="66"/>
                  </a:lnTo>
                  <a:lnTo>
                    <a:pt x="979" y="57"/>
                  </a:lnTo>
                  <a:lnTo>
                    <a:pt x="985" y="47"/>
                  </a:lnTo>
                  <a:lnTo>
                    <a:pt x="991" y="39"/>
                  </a:lnTo>
                  <a:lnTo>
                    <a:pt x="998" y="32"/>
                  </a:lnTo>
                  <a:lnTo>
                    <a:pt x="1005" y="26"/>
                  </a:lnTo>
                  <a:lnTo>
                    <a:pt x="1013" y="19"/>
                  </a:lnTo>
                  <a:lnTo>
                    <a:pt x="1022" y="13"/>
                  </a:lnTo>
                  <a:lnTo>
                    <a:pt x="1032" y="9"/>
                  </a:lnTo>
                  <a:lnTo>
                    <a:pt x="1041" y="5"/>
                  </a:lnTo>
                  <a:lnTo>
                    <a:pt x="1052" y="3"/>
                  </a:lnTo>
                  <a:lnTo>
                    <a:pt x="1063" y="1"/>
                  </a:lnTo>
                  <a:lnTo>
                    <a:pt x="1073" y="0"/>
                  </a:lnTo>
                  <a:close/>
                  <a:moveTo>
                    <a:pt x="3016" y="0"/>
                  </a:moveTo>
                  <a:lnTo>
                    <a:pt x="3043" y="0"/>
                  </a:lnTo>
                  <a:lnTo>
                    <a:pt x="3054" y="1"/>
                  </a:lnTo>
                  <a:lnTo>
                    <a:pt x="3064" y="3"/>
                  </a:lnTo>
                  <a:lnTo>
                    <a:pt x="3075" y="5"/>
                  </a:lnTo>
                  <a:lnTo>
                    <a:pt x="3085" y="9"/>
                  </a:lnTo>
                  <a:lnTo>
                    <a:pt x="3094" y="13"/>
                  </a:lnTo>
                  <a:lnTo>
                    <a:pt x="3102" y="19"/>
                  </a:lnTo>
                  <a:lnTo>
                    <a:pt x="3110" y="26"/>
                  </a:lnTo>
                  <a:lnTo>
                    <a:pt x="3118" y="32"/>
                  </a:lnTo>
                  <a:lnTo>
                    <a:pt x="3125" y="39"/>
                  </a:lnTo>
                  <a:lnTo>
                    <a:pt x="3132" y="47"/>
                  </a:lnTo>
                  <a:lnTo>
                    <a:pt x="3137" y="57"/>
                  </a:lnTo>
                  <a:lnTo>
                    <a:pt x="3141" y="66"/>
                  </a:lnTo>
                  <a:lnTo>
                    <a:pt x="3145" y="75"/>
                  </a:lnTo>
                  <a:lnTo>
                    <a:pt x="3146" y="86"/>
                  </a:lnTo>
                  <a:lnTo>
                    <a:pt x="3149" y="96"/>
                  </a:lnTo>
                  <a:lnTo>
                    <a:pt x="3149" y="108"/>
                  </a:lnTo>
                  <a:lnTo>
                    <a:pt x="3149" y="857"/>
                  </a:lnTo>
                  <a:lnTo>
                    <a:pt x="3149" y="868"/>
                  </a:lnTo>
                  <a:lnTo>
                    <a:pt x="3146" y="879"/>
                  </a:lnTo>
                  <a:lnTo>
                    <a:pt x="3145" y="888"/>
                  </a:lnTo>
                  <a:lnTo>
                    <a:pt x="3141" y="897"/>
                  </a:lnTo>
                  <a:lnTo>
                    <a:pt x="3137" y="907"/>
                  </a:lnTo>
                  <a:lnTo>
                    <a:pt x="3132" y="916"/>
                  </a:lnTo>
                  <a:lnTo>
                    <a:pt x="3125" y="924"/>
                  </a:lnTo>
                  <a:lnTo>
                    <a:pt x="3118" y="931"/>
                  </a:lnTo>
                  <a:lnTo>
                    <a:pt x="3110" y="939"/>
                  </a:lnTo>
                  <a:lnTo>
                    <a:pt x="3102" y="945"/>
                  </a:lnTo>
                  <a:lnTo>
                    <a:pt x="3094" y="950"/>
                  </a:lnTo>
                  <a:lnTo>
                    <a:pt x="3085" y="954"/>
                  </a:lnTo>
                  <a:lnTo>
                    <a:pt x="3075" y="958"/>
                  </a:lnTo>
                  <a:lnTo>
                    <a:pt x="3064" y="961"/>
                  </a:lnTo>
                  <a:lnTo>
                    <a:pt x="3054" y="962"/>
                  </a:lnTo>
                  <a:lnTo>
                    <a:pt x="3043" y="963"/>
                  </a:lnTo>
                  <a:lnTo>
                    <a:pt x="3016" y="963"/>
                  </a:lnTo>
                  <a:lnTo>
                    <a:pt x="3005" y="962"/>
                  </a:lnTo>
                  <a:lnTo>
                    <a:pt x="2996" y="961"/>
                  </a:lnTo>
                  <a:lnTo>
                    <a:pt x="2985" y="958"/>
                  </a:lnTo>
                  <a:lnTo>
                    <a:pt x="2976" y="954"/>
                  </a:lnTo>
                  <a:lnTo>
                    <a:pt x="2966" y="950"/>
                  </a:lnTo>
                  <a:lnTo>
                    <a:pt x="2957" y="945"/>
                  </a:lnTo>
                  <a:lnTo>
                    <a:pt x="2949" y="939"/>
                  </a:lnTo>
                  <a:lnTo>
                    <a:pt x="2942" y="931"/>
                  </a:lnTo>
                  <a:lnTo>
                    <a:pt x="2934" y="924"/>
                  </a:lnTo>
                  <a:lnTo>
                    <a:pt x="2929" y="916"/>
                  </a:lnTo>
                  <a:lnTo>
                    <a:pt x="2923" y="907"/>
                  </a:lnTo>
                  <a:lnTo>
                    <a:pt x="2919" y="897"/>
                  </a:lnTo>
                  <a:lnTo>
                    <a:pt x="2915" y="888"/>
                  </a:lnTo>
                  <a:lnTo>
                    <a:pt x="2912" y="879"/>
                  </a:lnTo>
                  <a:lnTo>
                    <a:pt x="2911" y="868"/>
                  </a:lnTo>
                  <a:lnTo>
                    <a:pt x="2910" y="857"/>
                  </a:lnTo>
                  <a:lnTo>
                    <a:pt x="2910" y="108"/>
                  </a:lnTo>
                  <a:lnTo>
                    <a:pt x="2911" y="96"/>
                  </a:lnTo>
                  <a:lnTo>
                    <a:pt x="2912" y="86"/>
                  </a:lnTo>
                  <a:lnTo>
                    <a:pt x="2915" y="75"/>
                  </a:lnTo>
                  <a:lnTo>
                    <a:pt x="2919" y="66"/>
                  </a:lnTo>
                  <a:lnTo>
                    <a:pt x="2923" y="57"/>
                  </a:lnTo>
                  <a:lnTo>
                    <a:pt x="2929" y="47"/>
                  </a:lnTo>
                  <a:lnTo>
                    <a:pt x="2934" y="39"/>
                  </a:lnTo>
                  <a:lnTo>
                    <a:pt x="2942" y="32"/>
                  </a:lnTo>
                  <a:lnTo>
                    <a:pt x="2949" y="26"/>
                  </a:lnTo>
                  <a:lnTo>
                    <a:pt x="2957" y="19"/>
                  </a:lnTo>
                  <a:lnTo>
                    <a:pt x="2966" y="13"/>
                  </a:lnTo>
                  <a:lnTo>
                    <a:pt x="2976" y="9"/>
                  </a:lnTo>
                  <a:lnTo>
                    <a:pt x="2985" y="5"/>
                  </a:lnTo>
                  <a:lnTo>
                    <a:pt x="2996" y="3"/>
                  </a:lnTo>
                  <a:lnTo>
                    <a:pt x="3005" y="1"/>
                  </a:lnTo>
                  <a:lnTo>
                    <a:pt x="3016" y="0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/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44360" y="5331605"/>
              <a:ext cx="1080022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it-IT" sz="1200" i="1" dirty="0"/>
                <a:t>Reference Period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5036883" y="4772349"/>
            <a:ext cx="3812903" cy="900112"/>
            <a:chOff x="5036883" y="4772349"/>
            <a:chExt cx="3900731" cy="900112"/>
          </a:xfrm>
        </p:grpSpPr>
        <p:sp>
          <p:nvSpPr>
            <p:cNvPr id="30" name="TextBox 29"/>
            <p:cNvSpPr txBox="1"/>
            <p:nvPr/>
          </p:nvSpPr>
          <p:spPr>
            <a:xfrm>
              <a:off x="5662349" y="4945966"/>
              <a:ext cx="327526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lvl="2" indent="-285750" algn="ctr" fontAlgn="auto">
                <a:spcBef>
                  <a:spcPts val="0"/>
                </a:spcBef>
                <a:spcAft>
                  <a:spcPts val="0"/>
                </a:spcAft>
                <a:buSzPct val="80000"/>
                <a:buFont typeface="Wingdings" panose="05000000000000000000" pitchFamily="2" charset="2"/>
                <a:buChar char="ü"/>
                <a:defRPr/>
              </a:pPr>
              <a:r>
                <a:rPr lang="en-US" sz="12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en-US" sz="1200" b="1" i="1" kern="0" baseline="30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d</a:t>
              </a:r>
              <a:r>
                <a:rPr lang="en-US" sz="1200" b="1" i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olar year preceding the DSU transmission date</a:t>
              </a:r>
            </a:p>
          </p:txBody>
        </p:sp>
        <p:grpSp>
          <p:nvGrpSpPr>
            <p:cNvPr id="38" name="Group 37"/>
            <p:cNvGrpSpPr/>
            <p:nvPr/>
          </p:nvGrpSpPr>
          <p:grpSpPr>
            <a:xfrm>
              <a:off x="5036883" y="4772349"/>
              <a:ext cx="1080022" cy="900112"/>
              <a:chOff x="344360" y="4800825"/>
              <a:chExt cx="1080022" cy="900112"/>
            </a:xfrm>
          </p:grpSpPr>
          <p:sp>
            <p:nvSpPr>
              <p:cNvPr id="39" name="Freeform 17"/>
              <p:cNvSpPr>
                <a:spLocks noChangeAspect="1" noEditPoints="1"/>
              </p:cNvSpPr>
              <p:nvPr/>
            </p:nvSpPr>
            <p:spPr bwMode="auto">
              <a:xfrm>
                <a:off x="684099" y="4800825"/>
                <a:ext cx="400544" cy="459418"/>
              </a:xfrm>
              <a:custGeom>
                <a:avLst/>
                <a:gdLst>
                  <a:gd name="T0" fmla="*/ 2147483647 w 4146"/>
                  <a:gd name="T1" fmla="*/ 2147483647 h 4763"/>
                  <a:gd name="T2" fmla="*/ 2147483647 w 4146"/>
                  <a:gd name="T3" fmla="*/ 2147483647 h 4763"/>
                  <a:gd name="T4" fmla="*/ 2147483647 w 4146"/>
                  <a:gd name="T5" fmla="*/ 2147483647 h 4763"/>
                  <a:gd name="T6" fmla="*/ 2147483647 w 4146"/>
                  <a:gd name="T7" fmla="*/ 2147483647 h 4763"/>
                  <a:gd name="T8" fmla="*/ 2147483647 w 4146"/>
                  <a:gd name="T9" fmla="*/ 2147483647 h 4763"/>
                  <a:gd name="T10" fmla="*/ 2147483647 w 4146"/>
                  <a:gd name="T11" fmla="*/ 2147483647 h 4763"/>
                  <a:gd name="T12" fmla="*/ 2147483647 w 4146"/>
                  <a:gd name="T13" fmla="*/ 2147483647 h 4763"/>
                  <a:gd name="T14" fmla="*/ 2147483647 w 4146"/>
                  <a:gd name="T15" fmla="*/ 2147483647 h 4763"/>
                  <a:gd name="T16" fmla="*/ 2147483647 w 4146"/>
                  <a:gd name="T17" fmla="*/ 2147483647 h 4763"/>
                  <a:gd name="T18" fmla="*/ 2147483647 w 4146"/>
                  <a:gd name="T19" fmla="*/ 2147483647 h 4763"/>
                  <a:gd name="T20" fmla="*/ 2147483647 w 4146"/>
                  <a:gd name="T21" fmla="*/ 2147483647 h 4763"/>
                  <a:gd name="T22" fmla="*/ 2147483647 w 4146"/>
                  <a:gd name="T23" fmla="*/ 2147483647 h 4763"/>
                  <a:gd name="T24" fmla="*/ 2147483647 w 4146"/>
                  <a:gd name="T25" fmla="*/ 2147483647 h 4763"/>
                  <a:gd name="T26" fmla="*/ 2147483647 w 4146"/>
                  <a:gd name="T27" fmla="*/ 2147483647 h 4763"/>
                  <a:gd name="T28" fmla="*/ 2147483647 w 4146"/>
                  <a:gd name="T29" fmla="*/ 2147483647 h 4763"/>
                  <a:gd name="T30" fmla="*/ 2147483647 w 4146"/>
                  <a:gd name="T31" fmla="*/ 2147483647 h 4763"/>
                  <a:gd name="T32" fmla="*/ 2147483647 w 4146"/>
                  <a:gd name="T33" fmla="*/ 2147483647 h 4763"/>
                  <a:gd name="T34" fmla="*/ 2147483647 w 4146"/>
                  <a:gd name="T35" fmla="*/ 2147483647 h 4763"/>
                  <a:gd name="T36" fmla="*/ 2147483647 w 4146"/>
                  <a:gd name="T37" fmla="*/ 2147483647 h 4763"/>
                  <a:gd name="T38" fmla="*/ 2147483647 w 4146"/>
                  <a:gd name="T39" fmla="*/ 2147483647 h 4763"/>
                  <a:gd name="T40" fmla="*/ 2147483647 w 4146"/>
                  <a:gd name="T41" fmla="*/ 2147483647 h 4763"/>
                  <a:gd name="T42" fmla="*/ 2147483647 w 4146"/>
                  <a:gd name="T43" fmla="*/ 2147483647 h 4763"/>
                  <a:gd name="T44" fmla="*/ 2147483647 w 4146"/>
                  <a:gd name="T45" fmla="*/ 2147483647 h 4763"/>
                  <a:gd name="T46" fmla="*/ 2147483647 w 4146"/>
                  <a:gd name="T47" fmla="*/ 2147483647 h 4763"/>
                  <a:gd name="T48" fmla="*/ 2147483647 w 4146"/>
                  <a:gd name="T49" fmla="*/ 2147483647 h 4763"/>
                  <a:gd name="T50" fmla="*/ 2147483647 w 4146"/>
                  <a:gd name="T51" fmla="*/ 2147483647 h 4763"/>
                  <a:gd name="T52" fmla="*/ 2147483647 w 4146"/>
                  <a:gd name="T53" fmla="*/ 2147483647 h 4763"/>
                  <a:gd name="T54" fmla="*/ 2147483647 w 4146"/>
                  <a:gd name="T55" fmla="*/ 2147483647 h 4763"/>
                  <a:gd name="T56" fmla="*/ 2147483647 w 4146"/>
                  <a:gd name="T57" fmla="*/ 2147483647 h 4763"/>
                  <a:gd name="T58" fmla="*/ 2147483647 w 4146"/>
                  <a:gd name="T59" fmla="*/ 2147483647 h 4763"/>
                  <a:gd name="T60" fmla="*/ 2147483647 w 4146"/>
                  <a:gd name="T61" fmla="*/ 2147483647 h 4763"/>
                  <a:gd name="T62" fmla="*/ 2147483647 w 4146"/>
                  <a:gd name="T63" fmla="*/ 2147483647 h 4763"/>
                  <a:gd name="T64" fmla="*/ 2147483647 w 4146"/>
                  <a:gd name="T65" fmla="*/ 2147483647 h 4763"/>
                  <a:gd name="T66" fmla="*/ 2147483647 w 4146"/>
                  <a:gd name="T67" fmla="*/ 2147483647 h 4763"/>
                  <a:gd name="T68" fmla="*/ 2147483647 w 4146"/>
                  <a:gd name="T69" fmla="*/ 2147483647 h 4763"/>
                  <a:gd name="T70" fmla="*/ 2147483647 w 4146"/>
                  <a:gd name="T71" fmla="*/ 2147483647 h 4763"/>
                  <a:gd name="T72" fmla="*/ 2147483647 w 4146"/>
                  <a:gd name="T73" fmla="*/ 2147483647 h 4763"/>
                  <a:gd name="T74" fmla="*/ 2147483647 w 4146"/>
                  <a:gd name="T75" fmla="*/ 2147483647 h 4763"/>
                  <a:gd name="T76" fmla="*/ 2147483647 w 4146"/>
                  <a:gd name="T77" fmla="*/ 2147483647 h 4763"/>
                  <a:gd name="T78" fmla="*/ 2147483647 w 4146"/>
                  <a:gd name="T79" fmla="*/ 2147483647 h 4763"/>
                  <a:gd name="T80" fmla="*/ 2147483647 w 4146"/>
                  <a:gd name="T81" fmla="*/ 2147483647 h 4763"/>
                  <a:gd name="T82" fmla="*/ 2147483647 w 4146"/>
                  <a:gd name="T83" fmla="*/ 2147483647 h 4763"/>
                  <a:gd name="T84" fmla="*/ 2147483647 w 4146"/>
                  <a:gd name="T85" fmla="*/ 2147483647 h 4763"/>
                  <a:gd name="T86" fmla="*/ 2147483647 w 4146"/>
                  <a:gd name="T87" fmla="*/ 2147483647 h 4763"/>
                  <a:gd name="T88" fmla="*/ 2147483647 w 4146"/>
                  <a:gd name="T89" fmla="*/ 2147483647 h 4763"/>
                  <a:gd name="T90" fmla="*/ 2147483647 w 4146"/>
                  <a:gd name="T91" fmla="*/ 2147483647 h 4763"/>
                  <a:gd name="T92" fmla="*/ 2147483647 w 4146"/>
                  <a:gd name="T93" fmla="*/ 2147483647 h 4763"/>
                  <a:gd name="T94" fmla="*/ 2147483647 w 4146"/>
                  <a:gd name="T95" fmla="*/ 2147483647 h 4763"/>
                  <a:gd name="T96" fmla="*/ 2147483647 w 4146"/>
                  <a:gd name="T97" fmla="*/ 2147483647 h 4763"/>
                  <a:gd name="T98" fmla="*/ 2147483647 w 4146"/>
                  <a:gd name="T99" fmla="*/ 2147483647 h 4763"/>
                  <a:gd name="T100" fmla="*/ 2147483647 w 4146"/>
                  <a:gd name="T101" fmla="*/ 2147483647 h 4763"/>
                  <a:gd name="T102" fmla="*/ 2147483647 w 4146"/>
                  <a:gd name="T103" fmla="*/ 2147483647 h 4763"/>
                  <a:gd name="T104" fmla="*/ 2147483647 w 4146"/>
                  <a:gd name="T105" fmla="*/ 2147483647 h 4763"/>
                  <a:gd name="T106" fmla="*/ 2147483647 w 4146"/>
                  <a:gd name="T107" fmla="*/ 2147483647 h 4763"/>
                  <a:gd name="T108" fmla="*/ 2147483647 w 4146"/>
                  <a:gd name="T109" fmla="*/ 2147483647 h 4763"/>
                  <a:gd name="T110" fmla="*/ 2147483647 w 4146"/>
                  <a:gd name="T111" fmla="*/ 2147483647 h 4763"/>
                  <a:gd name="T112" fmla="*/ 2147483647 w 4146"/>
                  <a:gd name="T113" fmla="*/ 2147483647 h 4763"/>
                  <a:gd name="T114" fmla="*/ 2147483647 w 4146"/>
                  <a:gd name="T115" fmla="*/ 2147483647 h 4763"/>
                  <a:gd name="T116" fmla="*/ 2147483647 w 4146"/>
                  <a:gd name="T117" fmla="*/ 2147483647 h 4763"/>
                  <a:gd name="T118" fmla="*/ 2147483647 w 4146"/>
                  <a:gd name="T119" fmla="*/ 2147483647 h 4763"/>
                  <a:gd name="T120" fmla="*/ 2147483647 w 4146"/>
                  <a:gd name="T121" fmla="*/ 2147483647 h 4763"/>
                  <a:gd name="T122" fmla="*/ 2147483647 w 4146"/>
                  <a:gd name="T123" fmla="*/ 2147483647 h 4763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4146"/>
                  <a:gd name="T187" fmla="*/ 0 h 4763"/>
                  <a:gd name="T188" fmla="*/ 4146 w 4146"/>
                  <a:gd name="T189" fmla="*/ 4763 h 4763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4146" h="4763">
                    <a:moveTo>
                      <a:pt x="4046" y="4763"/>
                    </a:moveTo>
                    <a:lnTo>
                      <a:pt x="102" y="4763"/>
                    </a:lnTo>
                    <a:lnTo>
                      <a:pt x="102" y="1765"/>
                    </a:lnTo>
                    <a:lnTo>
                      <a:pt x="317" y="1765"/>
                    </a:lnTo>
                    <a:lnTo>
                      <a:pt x="317" y="4548"/>
                    </a:lnTo>
                    <a:lnTo>
                      <a:pt x="3200" y="4548"/>
                    </a:lnTo>
                    <a:lnTo>
                      <a:pt x="3200" y="3914"/>
                    </a:lnTo>
                    <a:lnTo>
                      <a:pt x="3827" y="3914"/>
                    </a:lnTo>
                    <a:lnTo>
                      <a:pt x="3829" y="3913"/>
                    </a:lnTo>
                    <a:lnTo>
                      <a:pt x="3827" y="1765"/>
                    </a:lnTo>
                    <a:lnTo>
                      <a:pt x="4042" y="1765"/>
                    </a:lnTo>
                    <a:lnTo>
                      <a:pt x="4046" y="4763"/>
                    </a:lnTo>
                    <a:close/>
                    <a:moveTo>
                      <a:pt x="3826" y="4042"/>
                    </a:moveTo>
                    <a:lnTo>
                      <a:pt x="3308" y="4042"/>
                    </a:lnTo>
                    <a:lnTo>
                      <a:pt x="3308" y="4560"/>
                    </a:lnTo>
                    <a:lnTo>
                      <a:pt x="3826" y="4042"/>
                    </a:lnTo>
                    <a:close/>
                    <a:moveTo>
                      <a:pt x="3481" y="4560"/>
                    </a:moveTo>
                    <a:lnTo>
                      <a:pt x="3831" y="4560"/>
                    </a:lnTo>
                    <a:lnTo>
                      <a:pt x="3831" y="4214"/>
                    </a:lnTo>
                    <a:lnTo>
                      <a:pt x="3481" y="4560"/>
                    </a:lnTo>
                    <a:close/>
                    <a:moveTo>
                      <a:pt x="2022" y="3171"/>
                    </a:moveTo>
                    <a:lnTo>
                      <a:pt x="2022" y="3171"/>
                    </a:lnTo>
                    <a:lnTo>
                      <a:pt x="2021" y="3206"/>
                    </a:lnTo>
                    <a:lnTo>
                      <a:pt x="2019" y="3240"/>
                    </a:lnTo>
                    <a:lnTo>
                      <a:pt x="2015" y="3272"/>
                    </a:lnTo>
                    <a:lnTo>
                      <a:pt x="2010" y="3303"/>
                    </a:lnTo>
                    <a:lnTo>
                      <a:pt x="2003" y="3333"/>
                    </a:lnTo>
                    <a:lnTo>
                      <a:pt x="1995" y="3362"/>
                    </a:lnTo>
                    <a:lnTo>
                      <a:pt x="1986" y="3391"/>
                    </a:lnTo>
                    <a:lnTo>
                      <a:pt x="1975" y="3418"/>
                    </a:lnTo>
                    <a:lnTo>
                      <a:pt x="1961" y="3443"/>
                    </a:lnTo>
                    <a:lnTo>
                      <a:pt x="1948" y="3467"/>
                    </a:lnTo>
                    <a:lnTo>
                      <a:pt x="1933" y="3492"/>
                    </a:lnTo>
                    <a:lnTo>
                      <a:pt x="1917" y="3513"/>
                    </a:lnTo>
                    <a:lnTo>
                      <a:pt x="1899" y="3535"/>
                    </a:lnTo>
                    <a:lnTo>
                      <a:pt x="1881" y="3556"/>
                    </a:lnTo>
                    <a:lnTo>
                      <a:pt x="1860" y="3575"/>
                    </a:lnTo>
                    <a:lnTo>
                      <a:pt x="1838" y="3592"/>
                    </a:lnTo>
                    <a:lnTo>
                      <a:pt x="1816" y="3610"/>
                    </a:lnTo>
                    <a:lnTo>
                      <a:pt x="1792" y="3626"/>
                    </a:lnTo>
                    <a:lnTo>
                      <a:pt x="1766" y="3641"/>
                    </a:lnTo>
                    <a:lnTo>
                      <a:pt x="1741" y="3654"/>
                    </a:lnTo>
                    <a:lnTo>
                      <a:pt x="1714" y="3668"/>
                    </a:lnTo>
                    <a:lnTo>
                      <a:pt x="1684" y="3680"/>
                    </a:lnTo>
                    <a:lnTo>
                      <a:pt x="1655" y="3689"/>
                    </a:lnTo>
                    <a:lnTo>
                      <a:pt x="1624" y="3700"/>
                    </a:lnTo>
                    <a:lnTo>
                      <a:pt x="1591" y="3708"/>
                    </a:lnTo>
                    <a:lnTo>
                      <a:pt x="1559" y="3715"/>
                    </a:lnTo>
                    <a:lnTo>
                      <a:pt x="1524" y="3722"/>
                    </a:lnTo>
                    <a:lnTo>
                      <a:pt x="1489" y="3727"/>
                    </a:lnTo>
                    <a:lnTo>
                      <a:pt x="1453" y="3730"/>
                    </a:lnTo>
                    <a:lnTo>
                      <a:pt x="1417" y="3734"/>
                    </a:lnTo>
                    <a:lnTo>
                      <a:pt x="1378" y="3735"/>
                    </a:lnTo>
                    <a:lnTo>
                      <a:pt x="1339" y="3735"/>
                    </a:lnTo>
                    <a:lnTo>
                      <a:pt x="1289" y="3734"/>
                    </a:lnTo>
                    <a:lnTo>
                      <a:pt x="1239" y="3731"/>
                    </a:lnTo>
                    <a:lnTo>
                      <a:pt x="1191" y="3724"/>
                    </a:lnTo>
                    <a:lnTo>
                      <a:pt x="1145" y="3716"/>
                    </a:lnTo>
                    <a:lnTo>
                      <a:pt x="1099" y="3704"/>
                    </a:lnTo>
                    <a:lnTo>
                      <a:pt x="1056" y="3692"/>
                    </a:lnTo>
                    <a:lnTo>
                      <a:pt x="1013" y="3677"/>
                    </a:lnTo>
                    <a:lnTo>
                      <a:pt x="971" y="3660"/>
                    </a:lnTo>
                    <a:lnTo>
                      <a:pt x="932" y="3641"/>
                    </a:lnTo>
                    <a:lnTo>
                      <a:pt x="893" y="3621"/>
                    </a:lnTo>
                    <a:lnTo>
                      <a:pt x="857" y="3598"/>
                    </a:lnTo>
                    <a:lnTo>
                      <a:pt x="822" y="3575"/>
                    </a:lnTo>
                    <a:lnTo>
                      <a:pt x="787" y="3548"/>
                    </a:lnTo>
                    <a:lnTo>
                      <a:pt x="755" y="3521"/>
                    </a:lnTo>
                    <a:lnTo>
                      <a:pt x="722" y="3493"/>
                    </a:lnTo>
                    <a:lnTo>
                      <a:pt x="693" y="3463"/>
                    </a:lnTo>
                    <a:lnTo>
                      <a:pt x="908" y="3237"/>
                    </a:lnTo>
                    <a:lnTo>
                      <a:pt x="931" y="3259"/>
                    </a:lnTo>
                    <a:lnTo>
                      <a:pt x="955" y="3279"/>
                    </a:lnTo>
                    <a:lnTo>
                      <a:pt x="979" y="3299"/>
                    </a:lnTo>
                    <a:lnTo>
                      <a:pt x="1004" y="3317"/>
                    </a:lnTo>
                    <a:lnTo>
                      <a:pt x="1029" y="3334"/>
                    </a:lnTo>
                    <a:lnTo>
                      <a:pt x="1055" y="3350"/>
                    </a:lnTo>
                    <a:lnTo>
                      <a:pt x="1080" y="3365"/>
                    </a:lnTo>
                    <a:lnTo>
                      <a:pt x="1107" y="3379"/>
                    </a:lnTo>
                    <a:lnTo>
                      <a:pt x="1135" y="3391"/>
                    </a:lnTo>
                    <a:lnTo>
                      <a:pt x="1162" y="3401"/>
                    </a:lnTo>
                    <a:lnTo>
                      <a:pt x="1192" y="3411"/>
                    </a:lnTo>
                    <a:lnTo>
                      <a:pt x="1221" y="3418"/>
                    </a:lnTo>
                    <a:lnTo>
                      <a:pt x="1251" y="3423"/>
                    </a:lnTo>
                    <a:lnTo>
                      <a:pt x="1282" y="3427"/>
                    </a:lnTo>
                    <a:lnTo>
                      <a:pt x="1314" y="3430"/>
                    </a:lnTo>
                    <a:lnTo>
                      <a:pt x="1347" y="3431"/>
                    </a:lnTo>
                    <a:lnTo>
                      <a:pt x="1387" y="3430"/>
                    </a:lnTo>
                    <a:lnTo>
                      <a:pt x="1425" y="3427"/>
                    </a:lnTo>
                    <a:lnTo>
                      <a:pt x="1460" y="3422"/>
                    </a:lnTo>
                    <a:lnTo>
                      <a:pt x="1492" y="3415"/>
                    </a:lnTo>
                    <a:lnTo>
                      <a:pt x="1520" y="3405"/>
                    </a:lnTo>
                    <a:lnTo>
                      <a:pt x="1547" y="3393"/>
                    </a:lnTo>
                    <a:lnTo>
                      <a:pt x="1571" y="3380"/>
                    </a:lnTo>
                    <a:lnTo>
                      <a:pt x="1582" y="3373"/>
                    </a:lnTo>
                    <a:lnTo>
                      <a:pt x="1591" y="3365"/>
                    </a:lnTo>
                    <a:lnTo>
                      <a:pt x="1610" y="3348"/>
                    </a:lnTo>
                    <a:lnTo>
                      <a:pt x="1626" y="3329"/>
                    </a:lnTo>
                    <a:lnTo>
                      <a:pt x="1640" y="3307"/>
                    </a:lnTo>
                    <a:lnTo>
                      <a:pt x="1651" y="3284"/>
                    </a:lnTo>
                    <a:lnTo>
                      <a:pt x="1660" y="3260"/>
                    </a:lnTo>
                    <a:lnTo>
                      <a:pt x="1665" y="3235"/>
                    </a:lnTo>
                    <a:lnTo>
                      <a:pt x="1669" y="3206"/>
                    </a:lnTo>
                    <a:lnTo>
                      <a:pt x="1671" y="3177"/>
                    </a:lnTo>
                    <a:lnTo>
                      <a:pt x="1669" y="3147"/>
                    </a:lnTo>
                    <a:lnTo>
                      <a:pt x="1667" y="3120"/>
                    </a:lnTo>
                    <a:lnTo>
                      <a:pt x="1660" y="3093"/>
                    </a:lnTo>
                    <a:lnTo>
                      <a:pt x="1652" y="3069"/>
                    </a:lnTo>
                    <a:lnTo>
                      <a:pt x="1648" y="3057"/>
                    </a:lnTo>
                    <a:lnTo>
                      <a:pt x="1641" y="3046"/>
                    </a:lnTo>
                    <a:lnTo>
                      <a:pt x="1636" y="3035"/>
                    </a:lnTo>
                    <a:lnTo>
                      <a:pt x="1629" y="3025"/>
                    </a:lnTo>
                    <a:lnTo>
                      <a:pt x="1621" y="3015"/>
                    </a:lnTo>
                    <a:lnTo>
                      <a:pt x="1613" y="3007"/>
                    </a:lnTo>
                    <a:lnTo>
                      <a:pt x="1604" y="2999"/>
                    </a:lnTo>
                    <a:lnTo>
                      <a:pt x="1594" y="2991"/>
                    </a:lnTo>
                    <a:lnTo>
                      <a:pt x="1573" y="2976"/>
                    </a:lnTo>
                    <a:lnTo>
                      <a:pt x="1550" y="2964"/>
                    </a:lnTo>
                    <a:lnTo>
                      <a:pt x="1523" y="2953"/>
                    </a:lnTo>
                    <a:lnTo>
                      <a:pt x="1493" y="2944"/>
                    </a:lnTo>
                    <a:lnTo>
                      <a:pt x="1462" y="2937"/>
                    </a:lnTo>
                    <a:lnTo>
                      <a:pt x="1429" y="2932"/>
                    </a:lnTo>
                    <a:lnTo>
                      <a:pt x="1391" y="2929"/>
                    </a:lnTo>
                    <a:lnTo>
                      <a:pt x="1352" y="2928"/>
                    </a:lnTo>
                    <a:lnTo>
                      <a:pt x="1174" y="2928"/>
                    </a:lnTo>
                    <a:lnTo>
                      <a:pt x="1174" y="2637"/>
                    </a:lnTo>
                    <a:lnTo>
                      <a:pt x="1344" y="2637"/>
                    </a:lnTo>
                    <a:lnTo>
                      <a:pt x="1378" y="2636"/>
                    </a:lnTo>
                    <a:lnTo>
                      <a:pt x="1408" y="2633"/>
                    </a:lnTo>
                    <a:lnTo>
                      <a:pt x="1437" y="2629"/>
                    </a:lnTo>
                    <a:lnTo>
                      <a:pt x="1462" y="2622"/>
                    </a:lnTo>
                    <a:lnTo>
                      <a:pt x="1486" y="2614"/>
                    </a:lnTo>
                    <a:lnTo>
                      <a:pt x="1507" y="2605"/>
                    </a:lnTo>
                    <a:lnTo>
                      <a:pt x="1525" y="2594"/>
                    </a:lnTo>
                    <a:lnTo>
                      <a:pt x="1542" y="2581"/>
                    </a:lnTo>
                    <a:lnTo>
                      <a:pt x="1556" y="2566"/>
                    </a:lnTo>
                    <a:lnTo>
                      <a:pt x="1569" y="2550"/>
                    </a:lnTo>
                    <a:lnTo>
                      <a:pt x="1579" y="2532"/>
                    </a:lnTo>
                    <a:lnTo>
                      <a:pt x="1587" y="2512"/>
                    </a:lnTo>
                    <a:lnTo>
                      <a:pt x="1594" y="2492"/>
                    </a:lnTo>
                    <a:lnTo>
                      <a:pt x="1599" y="2469"/>
                    </a:lnTo>
                    <a:lnTo>
                      <a:pt x="1602" y="2445"/>
                    </a:lnTo>
                    <a:lnTo>
                      <a:pt x="1604" y="2419"/>
                    </a:lnTo>
                    <a:lnTo>
                      <a:pt x="1602" y="2395"/>
                    </a:lnTo>
                    <a:lnTo>
                      <a:pt x="1599" y="2372"/>
                    </a:lnTo>
                    <a:lnTo>
                      <a:pt x="1594" y="2351"/>
                    </a:lnTo>
                    <a:lnTo>
                      <a:pt x="1587" y="2330"/>
                    </a:lnTo>
                    <a:lnTo>
                      <a:pt x="1578" y="2312"/>
                    </a:lnTo>
                    <a:lnTo>
                      <a:pt x="1567" y="2294"/>
                    </a:lnTo>
                    <a:lnTo>
                      <a:pt x="1554" y="2278"/>
                    </a:lnTo>
                    <a:lnTo>
                      <a:pt x="1539" y="2263"/>
                    </a:lnTo>
                    <a:lnTo>
                      <a:pt x="1520" y="2250"/>
                    </a:lnTo>
                    <a:lnTo>
                      <a:pt x="1500" y="2238"/>
                    </a:lnTo>
                    <a:lnTo>
                      <a:pt x="1477" y="2228"/>
                    </a:lnTo>
                    <a:lnTo>
                      <a:pt x="1452" y="2219"/>
                    </a:lnTo>
                    <a:lnTo>
                      <a:pt x="1425" y="2212"/>
                    </a:lnTo>
                    <a:lnTo>
                      <a:pt x="1394" y="2207"/>
                    </a:lnTo>
                    <a:lnTo>
                      <a:pt x="1360" y="2204"/>
                    </a:lnTo>
                    <a:lnTo>
                      <a:pt x="1324" y="2203"/>
                    </a:lnTo>
                    <a:lnTo>
                      <a:pt x="1297" y="2204"/>
                    </a:lnTo>
                    <a:lnTo>
                      <a:pt x="1270" y="2205"/>
                    </a:lnTo>
                    <a:lnTo>
                      <a:pt x="1243" y="2209"/>
                    </a:lnTo>
                    <a:lnTo>
                      <a:pt x="1217" y="2213"/>
                    </a:lnTo>
                    <a:lnTo>
                      <a:pt x="1193" y="2220"/>
                    </a:lnTo>
                    <a:lnTo>
                      <a:pt x="1168" y="2228"/>
                    </a:lnTo>
                    <a:lnTo>
                      <a:pt x="1145" y="2236"/>
                    </a:lnTo>
                    <a:lnTo>
                      <a:pt x="1121" y="2247"/>
                    </a:lnTo>
                    <a:lnTo>
                      <a:pt x="1099" y="2258"/>
                    </a:lnTo>
                    <a:lnTo>
                      <a:pt x="1076" y="2270"/>
                    </a:lnTo>
                    <a:lnTo>
                      <a:pt x="1055" y="2282"/>
                    </a:lnTo>
                    <a:lnTo>
                      <a:pt x="1033" y="2297"/>
                    </a:lnTo>
                    <a:lnTo>
                      <a:pt x="1012" y="2312"/>
                    </a:lnTo>
                    <a:lnTo>
                      <a:pt x="990" y="2328"/>
                    </a:lnTo>
                    <a:lnTo>
                      <a:pt x="970" y="2345"/>
                    </a:lnTo>
                    <a:lnTo>
                      <a:pt x="948" y="2363"/>
                    </a:lnTo>
                    <a:lnTo>
                      <a:pt x="751" y="2137"/>
                    </a:lnTo>
                    <a:lnTo>
                      <a:pt x="776" y="2114"/>
                    </a:lnTo>
                    <a:lnTo>
                      <a:pt x="803" y="2091"/>
                    </a:lnTo>
                    <a:lnTo>
                      <a:pt x="831" y="2069"/>
                    </a:lnTo>
                    <a:lnTo>
                      <a:pt x="861" y="2048"/>
                    </a:lnTo>
                    <a:lnTo>
                      <a:pt x="892" y="2028"/>
                    </a:lnTo>
                    <a:lnTo>
                      <a:pt x="924" y="2007"/>
                    </a:lnTo>
                    <a:lnTo>
                      <a:pt x="958" y="1990"/>
                    </a:lnTo>
                    <a:lnTo>
                      <a:pt x="994" y="1974"/>
                    </a:lnTo>
                    <a:lnTo>
                      <a:pt x="1030" y="1959"/>
                    </a:lnTo>
                    <a:lnTo>
                      <a:pt x="1069" y="1946"/>
                    </a:lnTo>
                    <a:lnTo>
                      <a:pt x="1110" y="1933"/>
                    </a:lnTo>
                    <a:lnTo>
                      <a:pt x="1150" y="1923"/>
                    </a:lnTo>
                    <a:lnTo>
                      <a:pt x="1195" y="1915"/>
                    </a:lnTo>
                    <a:lnTo>
                      <a:pt x="1239" y="1908"/>
                    </a:lnTo>
                    <a:lnTo>
                      <a:pt x="1286" y="1905"/>
                    </a:lnTo>
                    <a:lnTo>
                      <a:pt x="1334" y="1904"/>
                    </a:lnTo>
                    <a:lnTo>
                      <a:pt x="1368" y="1904"/>
                    </a:lnTo>
                    <a:lnTo>
                      <a:pt x="1402" y="1905"/>
                    </a:lnTo>
                    <a:lnTo>
                      <a:pt x="1434" y="1908"/>
                    </a:lnTo>
                    <a:lnTo>
                      <a:pt x="1466" y="1911"/>
                    </a:lnTo>
                    <a:lnTo>
                      <a:pt x="1497" y="1915"/>
                    </a:lnTo>
                    <a:lnTo>
                      <a:pt x="1527" y="1920"/>
                    </a:lnTo>
                    <a:lnTo>
                      <a:pt x="1556" y="1925"/>
                    </a:lnTo>
                    <a:lnTo>
                      <a:pt x="1586" y="1932"/>
                    </a:lnTo>
                    <a:lnTo>
                      <a:pt x="1613" y="1939"/>
                    </a:lnTo>
                    <a:lnTo>
                      <a:pt x="1640" y="1947"/>
                    </a:lnTo>
                    <a:lnTo>
                      <a:pt x="1667" y="1956"/>
                    </a:lnTo>
                    <a:lnTo>
                      <a:pt x="1691" y="1967"/>
                    </a:lnTo>
                    <a:lnTo>
                      <a:pt x="1715" y="1978"/>
                    </a:lnTo>
                    <a:lnTo>
                      <a:pt x="1738" y="1990"/>
                    </a:lnTo>
                    <a:lnTo>
                      <a:pt x="1761" y="2003"/>
                    </a:lnTo>
                    <a:lnTo>
                      <a:pt x="1781" y="2017"/>
                    </a:lnTo>
                    <a:lnTo>
                      <a:pt x="1801" y="2032"/>
                    </a:lnTo>
                    <a:lnTo>
                      <a:pt x="1820" y="2048"/>
                    </a:lnTo>
                    <a:lnTo>
                      <a:pt x="1838" y="2065"/>
                    </a:lnTo>
                    <a:lnTo>
                      <a:pt x="1855" y="2084"/>
                    </a:lnTo>
                    <a:lnTo>
                      <a:pt x="1870" y="2103"/>
                    </a:lnTo>
                    <a:lnTo>
                      <a:pt x="1885" y="2123"/>
                    </a:lnTo>
                    <a:lnTo>
                      <a:pt x="1898" y="2143"/>
                    </a:lnTo>
                    <a:lnTo>
                      <a:pt x="1910" y="2166"/>
                    </a:lnTo>
                    <a:lnTo>
                      <a:pt x="1921" y="2189"/>
                    </a:lnTo>
                    <a:lnTo>
                      <a:pt x="1930" y="2213"/>
                    </a:lnTo>
                    <a:lnTo>
                      <a:pt x="1938" y="2239"/>
                    </a:lnTo>
                    <a:lnTo>
                      <a:pt x="1944" y="2264"/>
                    </a:lnTo>
                    <a:lnTo>
                      <a:pt x="1949" y="2293"/>
                    </a:lnTo>
                    <a:lnTo>
                      <a:pt x="1953" y="2321"/>
                    </a:lnTo>
                    <a:lnTo>
                      <a:pt x="1955" y="2349"/>
                    </a:lnTo>
                    <a:lnTo>
                      <a:pt x="1956" y="2380"/>
                    </a:lnTo>
                    <a:lnTo>
                      <a:pt x="1955" y="2418"/>
                    </a:lnTo>
                    <a:lnTo>
                      <a:pt x="1951" y="2454"/>
                    </a:lnTo>
                    <a:lnTo>
                      <a:pt x="1945" y="2488"/>
                    </a:lnTo>
                    <a:lnTo>
                      <a:pt x="1937" y="2519"/>
                    </a:lnTo>
                    <a:lnTo>
                      <a:pt x="1926" y="2548"/>
                    </a:lnTo>
                    <a:lnTo>
                      <a:pt x="1916" y="2575"/>
                    </a:lnTo>
                    <a:lnTo>
                      <a:pt x="1901" y="2601"/>
                    </a:lnTo>
                    <a:lnTo>
                      <a:pt x="1885" y="2625"/>
                    </a:lnTo>
                    <a:lnTo>
                      <a:pt x="1869" y="2648"/>
                    </a:lnTo>
                    <a:lnTo>
                      <a:pt x="1850" y="2668"/>
                    </a:lnTo>
                    <a:lnTo>
                      <a:pt x="1830" y="2687"/>
                    </a:lnTo>
                    <a:lnTo>
                      <a:pt x="1808" y="2704"/>
                    </a:lnTo>
                    <a:lnTo>
                      <a:pt x="1786" y="2721"/>
                    </a:lnTo>
                    <a:lnTo>
                      <a:pt x="1764" y="2737"/>
                    </a:lnTo>
                    <a:lnTo>
                      <a:pt x="1739" y="2750"/>
                    </a:lnTo>
                    <a:lnTo>
                      <a:pt x="1714" y="2764"/>
                    </a:lnTo>
                    <a:lnTo>
                      <a:pt x="1743" y="2772"/>
                    </a:lnTo>
                    <a:lnTo>
                      <a:pt x="1773" y="2784"/>
                    </a:lnTo>
                    <a:lnTo>
                      <a:pt x="1801" y="2796"/>
                    </a:lnTo>
                    <a:lnTo>
                      <a:pt x="1830" y="2811"/>
                    </a:lnTo>
                    <a:lnTo>
                      <a:pt x="1856" y="2828"/>
                    </a:lnTo>
                    <a:lnTo>
                      <a:pt x="1882" y="2847"/>
                    </a:lnTo>
                    <a:lnTo>
                      <a:pt x="1905" y="2869"/>
                    </a:lnTo>
                    <a:lnTo>
                      <a:pt x="1928" y="2891"/>
                    </a:lnTo>
                    <a:lnTo>
                      <a:pt x="1938" y="2905"/>
                    </a:lnTo>
                    <a:lnTo>
                      <a:pt x="1948" y="2918"/>
                    </a:lnTo>
                    <a:lnTo>
                      <a:pt x="1957" y="2932"/>
                    </a:lnTo>
                    <a:lnTo>
                      <a:pt x="1965" y="2947"/>
                    </a:lnTo>
                    <a:lnTo>
                      <a:pt x="1982" y="2978"/>
                    </a:lnTo>
                    <a:lnTo>
                      <a:pt x="1995" y="3011"/>
                    </a:lnTo>
                    <a:lnTo>
                      <a:pt x="2002" y="3029"/>
                    </a:lnTo>
                    <a:lnTo>
                      <a:pt x="2007" y="3046"/>
                    </a:lnTo>
                    <a:lnTo>
                      <a:pt x="2011" y="3066"/>
                    </a:lnTo>
                    <a:lnTo>
                      <a:pt x="2015" y="3085"/>
                    </a:lnTo>
                    <a:lnTo>
                      <a:pt x="2018" y="3107"/>
                    </a:lnTo>
                    <a:lnTo>
                      <a:pt x="2019" y="3127"/>
                    </a:lnTo>
                    <a:lnTo>
                      <a:pt x="2021" y="3150"/>
                    </a:lnTo>
                    <a:lnTo>
                      <a:pt x="2022" y="3171"/>
                    </a:lnTo>
                    <a:close/>
                    <a:moveTo>
                      <a:pt x="2296" y="3707"/>
                    </a:moveTo>
                    <a:lnTo>
                      <a:pt x="2296" y="3419"/>
                    </a:lnTo>
                    <a:lnTo>
                      <a:pt x="2704" y="3419"/>
                    </a:lnTo>
                    <a:lnTo>
                      <a:pt x="2704" y="2407"/>
                    </a:lnTo>
                    <a:lnTo>
                      <a:pt x="2331" y="2407"/>
                    </a:lnTo>
                    <a:lnTo>
                      <a:pt x="2331" y="2168"/>
                    </a:lnTo>
                    <a:lnTo>
                      <a:pt x="2380" y="2165"/>
                    </a:lnTo>
                    <a:lnTo>
                      <a:pt x="2425" y="2161"/>
                    </a:lnTo>
                    <a:lnTo>
                      <a:pt x="2467" y="2155"/>
                    </a:lnTo>
                    <a:lnTo>
                      <a:pt x="2505" y="2150"/>
                    </a:lnTo>
                    <a:lnTo>
                      <a:pt x="2540" y="2142"/>
                    </a:lnTo>
                    <a:lnTo>
                      <a:pt x="2572" y="2131"/>
                    </a:lnTo>
                    <a:lnTo>
                      <a:pt x="2602" y="2120"/>
                    </a:lnTo>
                    <a:lnTo>
                      <a:pt x="2629" y="2108"/>
                    </a:lnTo>
                    <a:lnTo>
                      <a:pt x="2653" y="2092"/>
                    </a:lnTo>
                    <a:lnTo>
                      <a:pt x="2674" y="2076"/>
                    </a:lnTo>
                    <a:lnTo>
                      <a:pt x="2693" y="2057"/>
                    </a:lnTo>
                    <a:lnTo>
                      <a:pt x="2709" y="2036"/>
                    </a:lnTo>
                    <a:lnTo>
                      <a:pt x="2724" y="2013"/>
                    </a:lnTo>
                    <a:lnTo>
                      <a:pt x="2736" y="1987"/>
                    </a:lnTo>
                    <a:lnTo>
                      <a:pt x="2748" y="1960"/>
                    </a:lnTo>
                    <a:lnTo>
                      <a:pt x="2756" y="1931"/>
                    </a:lnTo>
                    <a:lnTo>
                      <a:pt x="3062" y="1931"/>
                    </a:lnTo>
                    <a:lnTo>
                      <a:pt x="3062" y="3419"/>
                    </a:lnTo>
                    <a:lnTo>
                      <a:pt x="3432" y="3419"/>
                    </a:lnTo>
                    <a:lnTo>
                      <a:pt x="3432" y="3707"/>
                    </a:lnTo>
                    <a:lnTo>
                      <a:pt x="2296" y="3707"/>
                    </a:lnTo>
                    <a:close/>
                    <a:moveTo>
                      <a:pt x="4146" y="237"/>
                    </a:moveTo>
                    <a:lnTo>
                      <a:pt x="4146" y="1550"/>
                    </a:lnTo>
                    <a:lnTo>
                      <a:pt x="0" y="1549"/>
                    </a:lnTo>
                    <a:lnTo>
                      <a:pt x="0" y="237"/>
                    </a:lnTo>
                    <a:lnTo>
                      <a:pt x="860" y="237"/>
                    </a:lnTo>
                    <a:lnTo>
                      <a:pt x="860" y="857"/>
                    </a:lnTo>
                    <a:lnTo>
                      <a:pt x="860" y="879"/>
                    </a:lnTo>
                    <a:lnTo>
                      <a:pt x="864" y="900"/>
                    </a:lnTo>
                    <a:lnTo>
                      <a:pt x="869" y="920"/>
                    </a:lnTo>
                    <a:lnTo>
                      <a:pt x="876" y="940"/>
                    </a:lnTo>
                    <a:lnTo>
                      <a:pt x="885" y="958"/>
                    </a:lnTo>
                    <a:lnTo>
                      <a:pt x="896" y="977"/>
                    </a:lnTo>
                    <a:lnTo>
                      <a:pt x="908" y="993"/>
                    </a:lnTo>
                    <a:lnTo>
                      <a:pt x="921" y="1008"/>
                    </a:lnTo>
                    <a:lnTo>
                      <a:pt x="938" y="1021"/>
                    </a:lnTo>
                    <a:lnTo>
                      <a:pt x="954" y="1033"/>
                    </a:lnTo>
                    <a:lnTo>
                      <a:pt x="971" y="1044"/>
                    </a:lnTo>
                    <a:lnTo>
                      <a:pt x="990" y="1054"/>
                    </a:lnTo>
                    <a:lnTo>
                      <a:pt x="1009" y="1060"/>
                    </a:lnTo>
                    <a:lnTo>
                      <a:pt x="1030" y="1066"/>
                    </a:lnTo>
                    <a:lnTo>
                      <a:pt x="1051" y="1070"/>
                    </a:lnTo>
                    <a:lnTo>
                      <a:pt x="1073" y="1071"/>
                    </a:lnTo>
                    <a:lnTo>
                      <a:pt x="1099" y="1071"/>
                    </a:lnTo>
                    <a:lnTo>
                      <a:pt x="1121" y="1070"/>
                    </a:lnTo>
                    <a:lnTo>
                      <a:pt x="1142" y="1066"/>
                    </a:lnTo>
                    <a:lnTo>
                      <a:pt x="1164" y="1060"/>
                    </a:lnTo>
                    <a:lnTo>
                      <a:pt x="1182" y="1054"/>
                    </a:lnTo>
                    <a:lnTo>
                      <a:pt x="1201" y="1044"/>
                    </a:lnTo>
                    <a:lnTo>
                      <a:pt x="1219" y="1033"/>
                    </a:lnTo>
                    <a:lnTo>
                      <a:pt x="1235" y="1021"/>
                    </a:lnTo>
                    <a:lnTo>
                      <a:pt x="1251" y="1008"/>
                    </a:lnTo>
                    <a:lnTo>
                      <a:pt x="1265" y="993"/>
                    </a:lnTo>
                    <a:lnTo>
                      <a:pt x="1277" y="977"/>
                    </a:lnTo>
                    <a:lnTo>
                      <a:pt x="1287" y="958"/>
                    </a:lnTo>
                    <a:lnTo>
                      <a:pt x="1297" y="940"/>
                    </a:lnTo>
                    <a:lnTo>
                      <a:pt x="1304" y="920"/>
                    </a:lnTo>
                    <a:lnTo>
                      <a:pt x="1309" y="900"/>
                    </a:lnTo>
                    <a:lnTo>
                      <a:pt x="1312" y="879"/>
                    </a:lnTo>
                    <a:lnTo>
                      <a:pt x="1313" y="857"/>
                    </a:lnTo>
                    <a:lnTo>
                      <a:pt x="1313" y="237"/>
                    </a:lnTo>
                    <a:lnTo>
                      <a:pt x="2802" y="237"/>
                    </a:lnTo>
                    <a:lnTo>
                      <a:pt x="2802" y="857"/>
                    </a:lnTo>
                    <a:lnTo>
                      <a:pt x="2803" y="879"/>
                    </a:lnTo>
                    <a:lnTo>
                      <a:pt x="2807" y="900"/>
                    </a:lnTo>
                    <a:lnTo>
                      <a:pt x="2813" y="920"/>
                    </a:lnTo>
                    <a:lnTo>
                      <a:pt x="2820" y="940"/>
                    </a:lnTo>
                    <a:lnTo>
                      <a:pt x="2829" y="958"/>
                    </a:lnTo>
                    <a:lnTo>
                      <a:pt x="2840" y="977"/>
                    </a:lnTo>
                    <a:lnTo>
                      <a:pt x="2852" y="993"/>
                    </a:lnTo>
                    <a:lnTo>
                      <a:pt x="2865" y="1008"/>
                    </a:lnTo>
                    <a:lnTo>
                      <a:pt x="2880" y="1021"/>
                    </a:lnTo>
                    <a:lnTo>
                      <a:pt x="2898" y="1033"/>
                    </a:lnTo>
                    <a:lnTo>
                      <a:pt x="2915" y="1044"/>
                    </a:lnTo>
                    <a:lnTo>
                      <a:pt x="2934" y="1054"/>
                    </a:lnTo>
                    <a:lnTo>
                      <a:pt x="2953" y="1060"/>
                    </a:lnTo>
                    <a:lnTo>
                      <a:pt x="2973" y="1066"/>
                    </a:lnTo>
                    <a:lnTo>
                      <a:pt x="2994" y="1070"/>
                    </a:lnTo>
                    <a:lnTo>
                      <a:pt x="3016" y="1071"/>
                    </a:lnTo>
                    <a:lnTo>
                      <a:pt x="3043" y="1071"/>
                    </a:lnTo>
                    <a:lnTo>
                      <a:pt x="3064" y="1070"/>
                    </a:lnTo>
                    <a:lnTo>
                      <a:pt x="3086" y="1066"/>
                    </a:lnTo>
                    <a:lnTo>
                      <a:pt x="3106" y="1060"/>
                    </a:lnTo>
                    <a:lnTo>
                      <a:pt x="3126" y="1054"/>
                    </a:lnTo>
                    <a:lnTo>
                      <a:pt x="3145" y="1044"/>
                    </a:lnTo>
                    <a:lnTo>
                      <a:pt x="3163" y="1033"/>
                    </a:lnTo>
                    <a:lnTo>
                      <a:pt x="3179" y="1021"/>
                    </a:lnTo>
                    <a:lnTo>
                      <a:pt x="3194" y="1008"/>
                    </a:lnTo>
                    <a:lnTo>
                      <a:pt x="3208" y="993"/>
                    </a:lnTo>
                    <a:lnTo>
                      <a:pt x="3220" y="977"/>
                    </a:lnTo>
                    <a:lnTo>
                      <a:pt x="3231" y="958"/>
                    </a:lnTo>
                    <a:lnTo>
                      <a:pt x="3241" y="940"/>
                    </a:lnTo>
                    <a:lnTo>
                      <a:pt x="3247" y="920"/>
                    </a:lnTo>
                    <a:lnTo>
                      <a:pt x="3253" y="900"/>
                    </a:lnTo>
                    <a:lnTo>
                      <a:pt x="3255" y="879"/>
                    </a:lnTo>
                    <a:lnTo>
                      <a:pt x="3257" y="857"/>
                    </a:lnTo>
                    <a:lnTo>
                      <a:pt x="3257" y="237"/>
                    </a:lnTo>
                    <a:lnTo>
                      <a:pt x="4146" y="237"/>
                    </a:lnTo>
                    <a:close/>
                    <a:moveTo>
                      <a:pt x="1073" y="0"/>
                    </a:moveTo>
                    <a:lnTo>
                      <a:pt x="1099" y="0"/>
                    </a:lnTo>
                    <a:lnTo>
                      <a:pt x="1110" y="1"/>
                    </a:lnTo>
                    <a:lnTo>
                      <a:pt x="1121" y="3"/>
                    </a:lnTo>
                    <a:lnTo>
                      <a:pt x="1131" y="5"/>
                    </a:lnTo>
                    <a:lnTo>
                      <a:pt x="1141" y="9"/>
                    </a:lnTo>
                    <a:lnTo>
                      <a:pt x="1150" y="13"/>
                    </a:lnTo>
                    <a:lnTo>
                      <a:pt x="1158" y="19"/>
                    </a:lnTo>
                    <a:lnTo>
                      <a:pt x="1168" y="26"/>
                    </a:lnTo>
                    <a:lnTo>
                      <a:pt x="1174" y="32"/>
                    </a:lnTo>
                    <a:lnTo>
                      <a:pt x="1181" y="39"/>
                    </a:lnTo>
                    <a:lnTo>
                      <a:pt x="1188" y="47"/>
                    </a:lnTo>
                    <a:lnTo>
                      <a:pt x="1193" y="57"/>
                    </a:lnTo>
                    <a:lnTo>
                      <a:pt x="1197" y="66"/>
                    </a:lnTo>
                    <a:lnTo>
                      <a:pt x="1201" y="75"/>
                    </a:lnTo>
                    <a:lnTo>
                      <a:pt x="1204" y="86"/>
                    </a:lnTo>
                    <a:lnTo>
                      <a:pt x="1205" y="96"/>
                    </a:lnTo>
                    <a:lnTo>
                      <a:pt x="1205" y="108"/>
                    </a:lnTo>
                    <a:lnTo>
                      <a:pt x="1205" y="857"/>
                    </a:lnTo>
                    <a:lnTo>
                      <a:pt x="1205" y="868"/>
                    </a:lnTo>
                    <a:lnTo>
                      <a:pt x="1204" y="879"/>
                    </a:lnTo>
                    <a:lnTo>
                      <a:pt x="1201" y="888"/>
                    </a:lnTo>
                    <a:lnTo>
                      <a:pt x="1197" y="897"/>
                    </a:lnTo>
                    <a:lnTo>
                      <a:pt x="1193" y="907"/>
                    </a:lnTo>
                    <a:lnTo>
                      <a:pt x="1188" y="916"/>
                    </a:lnTo>
                    <a:lnTo>
                      <a:pt x="1181" y="924"/>
                    </a:lnTo>
                    <a:lnTo>
                      <a:pt x="1174" y="931"/>
                    </a:lnTo>
                    <a:lnTo>
                      <a:pt x="1168" y="939"/>
                    </a:lnTo>
                    <a:lnTo>
                      <a:pt x="1158" y="945"/>
                    </a:lnTo>
                    <a:lnTo>
                      <a:pt x="1150" y="950"/>
                    </a:lnTo>
                    <a:lnTo>
                      <a:pt x="1141" y="954"/>
                    </a:lnTo>
                    <a:lnTo>
                      <a:pt x="1131" y="958"/>
                    </a:lnTo>
                    <a:lnTo>
                      <a:pt x="1121" y="961"/>
                    </a:lnTo>
                    <a:lnTo>
                      <a:pt x="1110" y="962"/>
                    </a:lnTo>
                    <a:lnTo>
                      <a:pt x="1099" y="963"/>
                    </a:lnTo>
                    <a:lnTo>
                      <a:pt x="1073" y="963"/>
                    </a:lnTo>
                    <a:lnTo>
                      <a:pt x="1063" y="962"/>
                    </a:lnTo>
                    <a:lnTo>
                      <a:pt x="1052" y="961"/>
                    </a:lnTo>
                    <a:lnTo>
                      <a:pt x="1041" y="958"/>
                    </a:lnTo>
                    <a:lnTo>
                      <a:pt x="1032" y="954"/>
                    </a:lnTo>
                    <a:lnTo>
                      <a:pt x="1022" y="950"/>
                    </a:lnTo>
                    <a:lnTo>
                      <a:pt x="1013" y="945"/>
                    </a:lnTo>
                    <a:lnTo>
                      <a:pt x="1005" y="939"/>
                    </a:lnTo>
                    <a:lnTo>
                      <a:pt x="998" y="931"/>
                    </a:lnTo>
                    <a:lnTo>
                      <a:pt x="991" y="924"/>
                    </a:lnTo>
                    <a:lnTo>
                      <a:pt x="985" y="916"/>
                    </a:lnTo>
                    <a:lnTo>
                      <a:pt x="979" y="907"/>
                    </a:lnTo>
                    <a:lnTo>
                      <a:pt x="975" y="897"/>
                    </a:lnTo>
                    <a:lnTo>
                      <a:pt x="971" y="888"/>
                    </a:lnTo>
                    <a:lnTo>
                      <a:pt x="969" y="879"/>
                    </a:lnTo>
                    <a:lnTo>
                      <a:pt x="967" y="868"/>
                    </a:lnTo>
                    <a:lnTo>
                      <a:pt x="967" y="857"/>
                    </a:lnTo>
                    <a:lnTo>
                      <a:pt x="967" y="108"/>
                    </a:lnTo>
                    <a:lnTo>
                      <a:pt x="967" y="96"/>
                    </a:lnTo>
                    <a:lnTo>
                      <a:pt x="969" y="86"/>
                    </a:lnTo>
                    <a:lnTo>
                      <a:pt x="971" y="75"/>
                    </a:lnTo>
                    <a:lnTo>
                      <a:pt x="975" y="66"/>
                    </a:lnTo>
                    <a:lnTo>
                      <a:pt x="979" y="57"/>
                    </a:lnTo>
                    <a:lnTo>
                      <a:pt x="985" y="47"/>
                    </a:lnTo>
                    <a:lnTo>
                      <a:pt x="991" y="39"/>
                    </a:lnTo>
                    <a:lnTo>
                      <a:pt x="998" y="32"/>
                    </a:lnTo>
                    <a:lnTo>
                      <a:pt x="1005" y="26"/>
                    </a:lnTo>
                    <a:lnTo>
                      <a:pt x="1013" y="19"/>
                    </a:lnTo>
                    <a:lnTo>
                      <a:pt x="1022" y="13"/>
                    </a:lnTo>
                    <a:lnTo>
                      <a:pt x="1032" y="9"/>
                    </a:lnTo>
                    <a:lnTo>
                      <a:pt x="1041" y="5"/>
                    </a:lnTo>
                    <a:lnTo>
                      <a:pt x="1052" y="3"/>
                    </a:lnTo>
                    <a:lnTo>
                      <a:pt x="1063" y="1"/>
                    </a:lnTo>
                    <a:lnTo>
                      <a:pt x="1073" y="0"/>
                    </a:lnTo>
                    <a:close/>
                    <a:moveTo>
                      <a:pt x="3016" y="0"/>
                    </a:moveTo>
                    <a:lnTo>
                      <a:pt x="3043" y="0"/>
                    </a:lnTo>
                    <a:lnTo>
                      <a:pt x="3054" y="1"/>
                    </a:lnTo>
                    <a:lnTo>
                      <a:pt x="3064" y="3"/>
                    </a:lnTo>
                    <a:lnTo>
                      <a:pt x="3075" y="5"/>
                    </a:lnTo>
                    <a:lnTo>
                      <a:pt x="3085" y="9"/>
                    </a:lnTo>
                    <a:lnTo>
                      <a:pt x="3094" y="13"/>
                    </a:lnTo>
                    <a:lnTo>
                      <a:pt x="3102" y="19"/>
                    </a:lnTo>
                    <a:lnTo>
                      <a:pt x="3110" y="26"/>
                    </a:lnTo>
                    <a:lnTo>
                      <a:pt x="3118" y="32"/>
                    </a:lnTo>
                    <a:lnTo>
                      <a:pt x="3125" y="39"/>
                    </a:lnTo>
                    <a:lnTo>
                      <a:pt x="3132" y="47"/>
                    </a:lnTo>
                    <a:lnTo>
                      <a:pt x="3137" y="57"/>
                    </a:lnTo>
                    <a:lnTo>
                      <a:pt x="3141" y="66"/>
                    </a:lnTo>
                    <a:lnTo>
                      <a:pt x="3145" y="75"/>
                    </a:lnTo>
                    <a:lnTo>
                      <a:pt x="3146" y="86"/>
                    </a:lnTo>
                    <a:lnTo>
                      <a:pt x="3149" y="96"/>
                    </a:lnTo>
                    <a:lnTo>
                      <a:pt x="3149" y="108"/>
                    </a:lnTo>
                    <a:lnTo>
                      <a:pt x="3149" y="857"/>
                    </a:lnTo>
                    <a:lnTo>
                      <a:pt x="3149" y="868"/>
                    </a:lnTo>
                    <a:lnTo>
                      <a:pt x="3146" y="879"/>
                    </a:lnTo>
                    <a:lnTo>
                      <a:pt x="3145" y="888"/>
                    </a:lnTo>
                    <a:lnTo>
                      <a:pt x="3141" y="897"/>
                    </a:lnTo>
                    <a:lnTo>
                      <a:pt x="3137" y="907"/>
                    </a:lnTo>
                    <a:lnTo>
                      <a:pt x="3132" y="916"/>
                    </a:lnTo>
                    <a:lnTo>
                      <a:pt x="3125" y="924"/>
                    </a:lnTo>
                    <a:lnTo>
                      <a:pt x="3118" y="931"/>
                    </a:lnTo>
                    <a:lnTo>
                      <a:pt x="3110" y="939"/>
                    </a:lnTo>
                    <a:lnTo>
                      <a:pt x="3102" y="945"/>
                    </a:lnTo>
                    <a:lnTo>
                      <a:pt x="3094" y="950"/>
                    </a:lnTo>
                    <a:lnTo>
                      <a:pt x="3085" y="954"/>
                    </a:lnTo>
                    <a:lnTo>
                      <a:pt x="3075" y="958"/>
                    </a:lnTo>
                    <a:lnTo>
                      <a:pt x="3064" y="961"/>
                    </a:lnTo>
                    <a:lnTo>
                      <a:pt x="3054" y="962"/>
                    </a:lnTo>
                    <a:lnTo>
                      <a:pt x="3043" y="963"/>
                    </a:lnTo>
                    <a:lnTo>
                      <a:pt x="3016" y="963"/>
                    </a:lnTo>
                    <a:lnTo>
                      <a:pt x="3005" y="962"/>
                    </a:lnTo>
                    <a:lnTo>
                      <a:pt x="2996" y="961"/>
                    </a:lnTo>
                    <a:lnTo>
                      <a:pt x="2985" y="958"/>
                    </a:lnTo>
                    <a:lnTo>
                      <a:pt x="2976" y="954"/>
                    </a:lnTo>
                    <a:lnTo>
                      <a:pt x="2966" y="950"/>
                    </a:lnTo>
                    <a:lnTo>
                      <a:pt x="2957" y="945"/>
                    </a:lnTo>
                    <a:lnTo>
                      <a:pt x="2949" y="939"/>
                    </a:lnTo>
                    <a:lnTo>
                      <a:pt x="2942" y="931"/>
                    </a:lnTo>
                    <a:lnTo>
                      <a:pt x="2934" y="924"/>
                    </a:lnTo>
                    <a:lnTo>
                      <a:pt x="2929" y="916"/>
                    </a:lnTo>
                    <a:lnTo>
                      <a:pt x="2923" y="907"/>
                    </a:lnTo>
                    <a:lnTo>
                      <a:pt x="2919" y="897"/>
                    </a:lnTo>
                    <a:lnTo>
                      <a:pt x="2915" y="888"/>
                    </a:lnTo>
                    <a:lnTo>
                      <a:pt x="2912" y="879"/>
                    </a:lnTo>
                    <a:lnTo>
                      <a:pt x="2911" y="868"/>
                    </a:lnTo>
                    <a:lnTo>
                      <a:pt x="2910" y="857"/>
                    </a:lnTo>
                    <a:lnTo>
                      <a:pt x="2910" y="108"/>
                    </a:lnTo>
                    <a:lnTo>
                      <a:pt x="2911" y="96"/>
                    </a:lnTo>
                    <a:lnTo>
                      <a:pt x="2912" y="86"/>
                    </a:lnTo>
                    <a:lnTo>
                      <a:pt x="2915" y="75"/>
                    </a:lnTo>
                    <a:lnTo>
                      <a:pt x="2919" y="66"/>
                    </a:lnTo>
                    <a:lnTo>
                      <a:pt x="2923" y="57"/>
                    </a:lnTo>
                    <a:lnTo>
                      <a:pt x="2929" y="47"/>
                    </a:lnTo>
                    <a:lnTo>
                      <a:pt x="2934" y="39"/>
                    </a:lnTo>
                    <a:lnTo>
                      <a:pt x="2942" y="32"/>
                    </a:lnTo>
                    <a:lnTo>
                      <a:pt x="2949" y="26"/>
                    </a:lnTo>
                    <a:lnTo>
                      <a:pt x="2957" y="19"/>
                    </a:lnTo>
                    <a:lnTo>
                      <a:pt x="2966" y="13"/>
                    </a:lnTo>
                    <a:lnTo>
                      <a:pt x="2976" y="9"/>
                    </a:lnTo>
                    <a:lnTo>
                      <a:pt x="2985" y="5"/>
                    </a:lnTo>
                    <a:lnTo>
                      <a:pt x="2996" y="3"/>
                    </a:lnTo>
                    <a:lnTo>
                      <a:pt x="3005" y="1"/>
                    </a:lnTo>
                    <a:lnTo>
                      <a:pt x="3016" y="0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344360" y="5331605"/>
                <a:ext cx="1080022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ctr"/>
                <a:r>
                  <a:rPr lang="it-IT" sz="1200" i="1" dirty="0"/>
                  <a:t>Reference Period</a:t>
                </a:r>
              </a:p>
            </p:txBody>
          </p:sp>
        </p:grpSp>
      </p:grpSp>
      <p:pic>
        <p:nvPicPr>
          <p:cNvPr id="24" name="Picture 2" descr="Risultati immagini per agenzia delle entrate 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7646" y="3732726"/>
            <a:ext cx="1466741" cy="425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6" descr="http://www.uicpiemonte.it/images/marchi/logo%20inps.jpg/image_preview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5114" y="3774699"/>
            <a:ext cx="359195" cy="447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12358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44364" y="175566"/>
            <a:ext cx="705697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in details</a:t>
            </a:r>
            <a:endParaRPr lang="en-US" alt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Calculation factors – Source of data (2/2)</a:t>
            </a:r>
            <a:endParaRPr lang="it-IT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330200" y="897074"/>
            <a:ext cx="9231313" cy="58765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300"/>
              </a:spcAft>
              <a:buSzPct val="80000"/>
              <a:defRPr/>
            </a:pPr>
            <a:r>
              <a:rPr lang="en-US" sz="18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Italy, every year, </a:t>
            </a:r>
            <a:r>
              <a:rPr lang="en-US" sz="18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ers</a:t>
            </a:r>
            <a:r>
              <a:rPr lang="en-US" sz="18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8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ired </a:t>
            </a:r>
            <a:r>
              <a:rPr lang="en-US" sz="18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18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lfare allowance beneficiaries</a:t>
            </a:r>
            <a:r>
              <a:rPr lang="en-US" sz="18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ust fill the </a:t>
            </a:r>
            <a:r>
              <a:rPr lang="en-US" sz="18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 Income Return </a:t>
            </a:r>
            <a:r>
              <a:rPr lang="en-US" sz="18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lated to the </a:t>
            </a:r>
            <a:r>
              <a:rPr lang="en-US" sz="18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ious solar year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219631" y="6453420"/>
            <a:ext cx="574869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1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*Only tax-relevant allowances must be included in the annual individual income tax return</a:t>
            </a:r>
            <a:endParaRPr lang="it-IT" sz="11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362588" y="5890360"/>
            <a:ext cx="330465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TIRED WORKER and</a:t>
            </a:r>
          </a:p>
          <a:p>
            <a:pPr algn="ctr"/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LFARE ALLOWANCES* BENEFICIARIES</a:t>
            </a:r>
          </a:p>
        </p:txBody>
      </p:sp>
      <p:cxnSp>
        <p:nvCxnSpPr>
          <p:cNvPr id="26" name="Elbow Connector 25"/>
          <p:cNvCxnSpPr>
            <a:stCxn id="22" idx="3"/>
            <a:endCxn id="4" idx="1"/>
          </p:cNvCxnSpPr>
          <p:nvPr/>
        </p:nvCxnSpPr>
        <p:spPr>
          <a:xfrm>
            <a:off x="5663007" y="2551887"/>
            <a:ext cx="2105639" cy="1343694"/>
          </a:xfrm>
          <a:prstGeom prst="bentConnector3">
            <a:avLst>
              <a:gd name="adj1" fmla="val 62180"/>
            </a:avLst>
          </a:prstGeom>
          <a:ln w="127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/>
          <p:cNvCxnSpPr>
            <a:stCxn id="25" idx="3"/>
            <a:endCxn id="4" idx="1"/>
          </p:cNvCxnSpPr>
          <p:nvPr/>
        </p:nvCxnSpPr>
        <p:spPr>
          <a:xfrm flipV="1">
            <a:off x="6667247" y="3895581"/>
            <a:ext cx="1101399" cy="2179445"/>
          </a:xfrm>
          <a:prstGeom prst="bentConnector3">
            <a:avLst>
              <a:gd name="adj1" fmla="val 26713"/>
            </a:avLst>
          </a:prstGeom>
          <a:ln w="127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7768646" y="3256090"/>
            <a:ext cx="1792867" cy="1278982"/>
            <a:chOff x="7768773" y="3140960"/>
            <a:chExt cx="1792867" cy="1278982"/>
          </a:xfrm>
        </p:grpSpPr>
        <p:pic>
          <p:nvPicPr>
            <p:cNvPr id="1714178" name="Picture 2" descr="Risultati immagini per agenzia delle entrate logo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77827" y="3140960"/>
              <a:ext cx="1774757" cy="5152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Rectangle 3"/>
            <p:cNvSpPr/>
            <p:nvPr/>
          </p:nvSpPr>
          <p:spPr>
            <a:xfrm>
              <a:off x="7768773" y="3140960"/>
              <a:ext cx="1792867" cy="1278982"/>
            </a:xfrm>
            <a:prstGeom prst="rect">
              <a:avLst/>
            </a:prstGeom>
            <a:noFill/>
            <a:ln>
              <a:solidFill>
                <a:srgbClr val="FFCC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7881017" y="3785416"/>
              <a:ext cx="156837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REVENUE AGENCY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6421549" y="3190668"/>
            <a:ext cx="973839" cy="1389511"/>
            <a:chOff x="6130232" y="2850895"/>
            <a:chExt cx="973839" cy="1389511"/>
          </a:xfrm>
        </p:grpSpPr>
        <p:sp>
          <p:nvSpPr>
            <p:cNvPr id="63" name="TextBox 62"/>
            <p:cNvSpPr txBox="1"/>
            <p:nvPr/>
          </p:nvSpPr>
          <p:spPr>
            <a:xfrm>
              <a:off x="6130232" y="2850895"/>
              <a:ext cx="973839" cy="138951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endPara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ctr"/>
              <a:endPara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ctr"/>
              <a:endPara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algn="ctr"/>
              <a:r>
                <a:rPr lang="it-IT" sz="12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ANNUAL INDIVIDUAL INCOME TAX RETURN</a:t>
              </a:r>
            </a:p>
          </p:txBody>
        </p:sp>
        <p:sp>
          <p:nvSpPr>
            <p:cNvPr id="64" name="Freeform 14"/>
            <p:cNvSpPr>
              <a:spLocks noChangeAspect="1" noEditPoints="1"/>
            </p:cNvSpPr>
            <p:nvPr/>
          </p:nvSpPr>
          <p:spPr bwMode="auto">
            <a:xfrm>
              <a:off x="6249180" y="2850895"/>
              <a:ext cx="633222" cy="572058"/>
            </a:xfrm>
            <a:custGeom>
              <a:avLst/>
              <a:gdLst>
                <a:gd name="T0" fmla="*/ 2147483647 w 5280"/>
                <a:gd name="T1" fmla="*/ 2147483647 h 4763"/>
                <a:gd name="T2" fmla="*/ 2147483647 w 5280"/>
                <a:gd name="T3" fmla="*/ 2147483647 h 4763"/>
                <a:gd name="T4" fmla="*/ 2147483647 w 5280"/>
                <a:gd name="T5" fmla="*/ 2147483647 h 4763"/>
                <a:gd name="T6" fmla="*/ 2147483647 w 5280"/>
                <a:gd name="T7" fmla="*/ 2147483647 h 4763"/>
                <a:gd name="T8" fmla="*/ 2147483647 w 5280"/>
                <a:gd name="T9" fmla="*/ 2147483647 h 4763"/>
                <a:gd name="T10" fmla="*/ 2147483647 w 5280"/>
                <a:gd name="T11" fmla="*/ 2147483647 h 4763"/>
                <a:gd name="T12" fmla="*/ 2147483647 w 5280"/>
                <a:gd name="T13" fmla="*/ 2147483647 h 4763"/>
                <a:gd name="T14" fmla="*/ 2147483647 w 5280"/>
                <a:gd name="T15" fmla="*/ 2147483647 h 4763"/>
                <a:gd name="T16" fmla="*/ 2147483647 w 5280"/>
                <a:gd name="T17" fmla="*/ 2147483647 h 4763"/>
                <a:gd name="T18" fmla="*/ 2147483647 w 5280"/>
                <a:gd name="T19" fmla="*/ 2147483647 h 4763"/>
                <a:gd name="T20" fmla="*/ 2147483647 w 5280"/>
                <a:gd name="T21" fmla="*/ 2147483647 h 4763"/>
                <a:gd name="T22" fmla="*/ 2147483647 w 5280"/>
                <a:gd name="T23" fmla="*/ 2147483647 h 4763"/>
                <a:gd name="T24" fmla="*/ 2147483647 w 5280"/>
                <a:gd name="T25" fmla="*/ 2147483647 h 4763"/>
                <a:gd name="T26" fmla="*/ 2147483647 w 5280"/>
                <a:gd name="T27" fmla="*/ 2147483647 h 4763"/>
                <a:gd name="T28" fmla="*/ 2147483647 w 5280"/>
                <a:gd name="T29" fmla="*/ 2147483647 h 4763"/>
                <a:gd name="T30" fmla="*/ 2147483647 w 5280"/>
                <a:gd name="T31" fmla="*/ 2147483647 h 4763"/>
                <a:gd name="T32" fmla="*/ 2147483647 w 5280"/>
                <a:gd name="T33" fmla="*/ 2147483647 h 4763"/>
                <a:gd name="T34" fmla="*/ 2147483647 w 5280"/>
                <a:gd name="T35" fmla="*/ 2147483647 h 4763"/>
                <a:gd name="T36" fmla="*/ 2147483647 w 5280"/>
                <a:gd name="T37" fmla="*/ 2147483647 h 4763"/>
                <a:gd name="T38" fmla="*/ 2147483647 w 5280"/>
                <a:gd name="T39" fmla="*/ 2147483647 h 4763"/>
                <a:gd name="T40" fmla="*/ 2147483647 w 5280"/>
                <a:gd name="T41" fmla="*/ 2147483647 h 4763"/>
                <a:gd name="T42" fmla="*/ 2147483647 w 5280"/>
                <a:gd name="T43" fmla="*/ 2147483647 h 4763"/>
                <a:gd name="T44" fmla="*/ 2147483647 w 5280"/>
                <a:gd name="T45" fmla="*/ 2147483647 h 4763"/>
                <a:gd name="T46" fmla="*/ 2147483647 w 5280"/>
                <a:gd name="T47" fmla="*/ 2147483647 h 4763"/>
                <a:gd name="T48" fmla="*/ 2147483647 w 5280"/>
                <a:gd name="T49" fmla="*/ 2147483647 h 4763"/>
                <a:gd name="T50" fmla="*/ 2147483647 w 5280"/>
                <a:gd name="T51" fmla="*/ 2147483647 h 4763"/>
                <a:gd name="T52" fmla="*/ 2147483647 w 5280"/>
                <a:gd name="T53" fmla="*/ 2147483647 h 4763"/>
                <a:gd name="T54" fmla="*/ 2147483647 w 5280"/>
                <a:gd name="T55" fmla="*/ 2147483647 h 4763"/>
                <a:gd name="T56" fmla="*/ 2147483647 w 5280"/>
                <a:gd name="T57" fmla="*/ 2147483647 h 4763"/>
                <a:gd name="T58" fmla="*/ 2147483647 w 5280"/>
                <a:gd name="T59" fmla="*/ 2147483647 h 4763"/>
                <a:gd name="T60" fmla="*/ 2147483647 w 5280"/>
                <a:gd name="T61" fmla="*/ 2147483647 h 4763"/>
                <a:gd name="T62" fmla="*/ 2147483647 w 5280"/>
                <a:gd name="T63" fmla="*/ 2147483647 h 4763"/>
                <a:gd name="T64" fmla="*/ 2147483647 w 5280"/>
                <a:gd name="T65" fmla="*/ 2147483647 h 4763"/>
                <a:gd name="T66" fmla="*/ 2147483647 w 5280"/>
                <a:gd name="T67" fmla="*/ 2147483647 h 4763"/>
                <a:gd name="T68" fmla="*/ 2147483647 w 5280"/>
                <a:gd name="T69" fmla="*/ 2147483647 h 4763"/>
                <a:gd name="T70" fmla="*/ 2147483647 w 5280"/>
                <a:gd name="T71" fmla="*/ 2147483647 h 4763"/>
                <a:gd name="T72" fmla="*/ 2147483647 w 5280"/>
                <a:gd name="T73" fmla="*/ 0 h 4763"/>
                <a:gd name="T74" fmla="*/ 2147483647 w 5280"/>
                <a:gd name="T75" fmla="*/ 2147483647 h 4763"/>
                <a:gd name="T76" fmla="*/ 2147483647 w 5280"/>
                <a:gd name="T77" fmla="*/ 2147483647 h 4763"/>
                <a:gd name="T78" fmla="*/ 2147483647 w 5280"/>
                <a:gd name="T79" fmla="*/ 2147483647 h 4763"/>
                <a:gd name="T80" fmla="*/ 2147483647 w 5280"/>
                <a:gd name="T81" fmla="*/ 2147483647 h 4763"/>
                <a:gd name="T82" fmla="*/ 2147483647 w 5280"/>
                <a:gd name="T83" fmla="*/ 2147483647 h 4763"/>
                <a:gd name="T84" fmla="*/ 2147483647 w 5280"/>
                <a:gd name="T85" fmla="*/ 2147483647 h 4763"/>
                <a:gd name="T86" fmla="*/ 2147483647 w 5280"/>
                <a:gd name="T87" fmla="*/ 2147483647 h 4763"/>
                <a:gd name="T88" fmla="*/ 2147483647 w 5280"/>
                <a:gd name="T89" fmla="*/ 2147483647 h 4763"/>
                <a:gd name="T90" fmla="*/ 2147483647 w 5280"/>
                <a:gd name="T91" fmla="*/ 2147483647 h 4763"/>
                <a:gd name="T92" fmla="*/ 2147483647 w 5280"/>
                <a:gd name="T93" fmla="*/ 2147483647 h 4763"/>
                <a:gd name="T94" fmla="*/ 2147483647 w 5280"/>
                <a:gd name="T95" fmla="*/ 2147483647 h 4763"/>
                <a:gd name="T96" fmla="*/ 2147483647 w 5280"/>
                <a:gd name="T97" fmla="*/ 2147483647 h 476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5280"/>
                <a:gd name="T148" fmla="*/ 0 h 4763"/>
                <a:gd name="T149" fmla="*/ 5280 w 5280"/>
                <a:gd name="T150" fmla="*/ 4763 h 4763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5280" h="4763">
                  <a:moveTo>
                    <a:pt x="0" y="915"/>
                  </a:moveTo>
                  <a:lnTo>
                    <a:pt x="0" y="915"/>
                  </a:lnTo>
                  <a:lnTo>
                    <a:pt x="1" y="898"/>
                  </a:lnTo>
                  <a:lnTo>
                    <a:pt x="4" y="882"/>
                  </a:lnTo>
                  <a:lnTo>
                    <a:pt x="8" y="867"/>
                  </a:lnTo>
                  <a:lnTo>
                    <a:pt x="14" y="852"/>
                  </a:lnTo>
                  <a:lnTo>
                    <a:pt x="20" y="839"/>
                  </a:lnTo>
                  <a:lnTo>
                    <a:pt x="28" y="825"/>
                  </a:lnTo>
                  <a:lnTo>
                    <a:pt x="38" y="813"/>
                  </a:lnTo>
                  <a:lnTo>
                    <a:pt x="47" y="802"/>
                  </a:lnTo>
                  <a:lnTo>
                    <a:pt x="60" y="792"/>
                  </a:lnTo>
                  <a:lnTo>
                    <a:pt x="72" y="782"/>
                  </a:lnTo>
                  <a:lnTo>
                    <a:pt x="85" y="774"/>
                  </a:lnTo>
                  <a:lnTo>
                    <a:pt x="99" y="767"/>
                  </a:lnTo>
                  <a:lnTo>
                    <a:pt x="114" y="763"/>
                  </a:lnTo>
                  <a:lnTo>
                    <a:pt x="129" y="759"/>
                  </a:lnTo>
                  <a:lnTo>
                    <a:pt x="145" y="756"/>
                  </a:lnTo>
                  <a:lnTo>
                    <a:pt x="161" y="755"/>
                  </a:lnTo>
                  <a:lnTo>
                    <a:pt x="1985" y="755"/>
                  </a:lnTo>
                  <a:lnTo>
                    <a:pt x="2001" y="756"/>
                  </a:lnTo>
                  <a:lnTo>
                    <a:pt x="2018" y="759"/>
                  </a:lnTo>
                  <a:lnTo>
                    <a:pt x="2033" y="763"/>
                  </a:lnTo>
                  <a:lnTo>
                    <a:pt x="2047" y="767"/>
                  </a:lnTo>
                  <a:lnTo>
                    <a:pt x="2061" y="774"/>
                  </a:lnTo>
                  <a:lnTo>
                    <a:pt x="2075" y="782"/>
                  </a:lnTo>
                  <a:lnTo>
                    <a:pt x="2087" y="792"/>
                  </a:lnTo>
                  <a:lnTo>
                    <a:pt x="2099" y="802"/>
                  </a:lnTo>
                  <a:lnTo>
                    <a:pt x="2108" y="813"/>
                  </a:lnTo>
                  <a:lnTo>
                    <a:pt x="2118" y="825"/>
                  </a:lnTo>
                  <a:lnTo>
                    <a:pt x="2126" y="839"/>
                  </a:lnTo>
                  <a:lnTo>
                    <a:pt x="2133" y="852"/>
                  </a:lnTo>
                  <a:lnTo>
                    <a:pt x="2138" y="867"/>
                  </a:lnTo>
                  <a:lnTo>
                    <a:pt x="2142" y="882"/>
                  </a:lnTo>
                  <a:lnTo>
                    <a:pt x="2145" y="898"/>
                  </a:lnTo>
                  <a:lnTo>
                    <a:pt x="2146" y="915"/>
                  </a:lnTo>
                  <a:lnTo>
                    <a:pt x="2146" y="3530"/>
                  </a:lnTo>
                  <a:lnTo>
                    <a:pt x="0" y="3530"/>
                  </a:lnTo>
                  <a:lnTo>
                    <a:pt x="0" y="915"/>
                  </a:lnTo>
                  <a:close/>
                  <a:moveTo>
                    <a:pt x="1930" y="972"/>
                  </a:moveTo>
                  <a:lnTo>
                    <a:pt x="217" y="955"/>
                  </a:lnTo>
                  <a:lnTo>
                    <a:pt x="217" y="3314"/>
                  </a:lnTo>
                  <a:lnTo>
                    <a:pt x="1930" y="3314"/>
                  </a:lnTo>
                  <a:lnTo>
                    <a:pt x="1930" y="972"/>
                  </a:lnTo>
                  <a:close/>
                  <a:moveTo>
                    <a:pt x="696" y="1514"/>
                  </a:moveTo>
                  <a:lnTo>
                    <a:pt x="790" y="1419"/>
                  </a:lnTo>
                  <a:lnTo>
                    <a:pt x="830" y="1457"/>
                  </a:lnTo>
                  <a:lnTo>
                    <a:pt x="735" y="1552"/>
                  </a:lnTo>
                  <a:lnTo>
                    <a:pt x="696" y="1514"/>
                  </a:lnTo>
                  <a:close/>
                  <a:moveTo>
                    <a:pt x="548" y="1514"/>
                  </a:moveTo>
                  <a:lnTo>
                    <a:pt x="765" y="1298"/>
                  </a:lnTo>
                  <a:lnTo>
                    <a:pt x="804" y="1336"/>
                  </a:lnTo>
                  <a:lnTo>
                    <a:pt x="587" y="1552"/>
                  </a:lnTo>
                  <a:lnTo>
                    <a:pt x="548" y="1514"/>
                  </a:lnTo>
                  <a:close/>
                  <a:moveTo>
                    <a:pt x="1582" y="1250"/>
                  </a:moveTo>
                  <a:lnTo>
                    <a:pt x="456" y="1250"/>
                  </a:lnTo>
                  <a:lnTo>
                    <a:pt x="456" y="1639"/>
                  </a:lnTo>
                  <a:lnTo>
                    <a:pt x="1690" y="1639"/>
                  </a:lnTo>
                  <a:lnTo>
                    <a:pt x="1690" y="1142"/>
                  </a:lnTo>
                  <a:lnTo>
                    <a:pt x="1798" y="1142"/>
                  </a:lnTo>
                  <a:lnTo>
                    <a:pt x="1798" y="1747"/>
                  </a:lnTo>
                  <a:lnTo>
                    <a:pt x="348" y="1747"/>
                  </a:lnTo>
                  <a:lnTo>
                    <a:pt x="348" y="1142"/>
                  </a:lnTo>
                  <a:lnTo>
                    <a:pt x="1582" y="1142"/>
                  </a:lnTo>
                  <a:lnTo>
                    <a:pt x="1582" y="1250"/>
                  </a:lnTo>
                  <a:close/>
                  <a:moveTo>
                    <a:pt x="367" y="2993"/>
                  </a:moveTo>
                  <a:lnTo>
                    <a:pt x="1046" y="2993"/>
                  </a:lnTo>
                  <a:lnTo>
                    <a:pt x="1046" y="3101"/>
                  </a:lnTo>
                  <a:lnTo>
                    <a:pt x="367" y="3101"/>
                  </a:lnTo>
                  <a:lnTo>
                    <a:pt x="367" y="2993"/>
                  </a:lnTo>
                  <a:close/>
                  <a:moveTo>
                    <a:pt x="1100" y="2993"/>
                  </a:moveTo>
                  <a:lnTo>
                    <a:pt x="1421" y="2993"/>
                  </a:lnTo>
                  <a:lnTo>
                    <a:pt x="1421" y="3101"/>
                  </a:lnTo>
                  <a:lnTo>
                    <a:pt x="1100" y="3101"/>
                  </a:lnTo>
                  <a:lnTo>
                    <a:pt x="1100" y="2993"/>
                  </a:lnTo>
                  <a:close/>
                  <a:moveTo>
                    <a:pt x="1475" y="2993"/>
                  </a:moveTo>
                  <a:lnTo>
                    <a:pt x="1780" y="2993"/>
                  </a:lnTo>
                  <a:lnTo>
                    <a:pt x="1780" y="3101"/>
                  </a:lnTo>
                  <a:lnTo>
                    <a:pt x="1475" y="3101"/>
                  </a:lnTo>
                  <a:lnTo>
                    <a:pt x="1475" y="2993"/>
                  </a:lnTo>
                  <a:close/>
                  <a:moveTo>
                    <a:pt x="1475" y="2041"/>
                  </a:moveTo>
                  <a:lnTo>
                    <a:pt x="1780" y="2041"/>
                  </a:lnTo>
                  <a:lnTo>
                    <a:pt x="1780" y="2149"/>
                  </a:lnTo>
                  <a:lnTo>
                    <a:pt x="1475" y="2149"/>
                  </a:lnTo>
                  <a:lnTo>
                    <a:pt x="1475" y="2041"/>
                  </a:lnTo>
                  <a:close/>
                  <a:moveTo>
                    <a:pt x="1100" y="2041"/>
                  </a:moveTo>
                  <a:lnTo>
                    <a:pt x="1421" y="2041"/>
                  </a:lnTo>
                  <a:lnTo>
                    <a:pt x="1421" y="2149"/>
                  </a:lnTo>
                  <a:lnTo>
                    <a:pt x="1100" y="2149"/>
                  </a:lnTo>
                  <a:lnTo>
                    <a:pt x="1100" y="2041"/>
                  </a:lnTo>
                  <a:close/>
                  <a:moveTo>
                    <a:pt x="721" y="2041"/>
                  </a:moveTo>
                  <a:lnTo>
                    <a:pt x="1046" y="2041"/>
                  </a:lnTo>
                  <a:lnTo>
                    <a:pt x="1046" y="2149"/>
                  </a:lnTo>
                  <a:lnTo>
                    <a:pt x="721" y="2149"/>
                  </a:lnTo>
                  <a:lnTo>
                    <a:pt x="721" y="2041"/>
                  </a:lnTo>
                  <a:close/>
                  <a:moveTo>
                    <a:pt x="367" y="2041"/>
                  </a:moveTo>
                  <a:lnTo>
                    <a:pt x="667" y="2041"/>
                  </a:lnTo>
                  <a:lnTo>
                    <a:pt x="667" y="2149"/>
                  </a:lnTo>
                  <a:lnTo>
                    <a:pt x="367" y="2149"/>
                  </a:lnTo>
                  <a:lnTo>
                    <a:pt x="367" y="2041"/>
                  </a:lnTo>
                  <a:close/>
                  <a:moveTo>
                    <a:pt x="1475" y="2358"/>
                  </a:moveTo>
                  <a:lnTo>
                    <a:pt x="1780" y="2358"/>
                  </a:lnTo>
                  <a:lnTo>
                    <a:pt x="1780" y="2467"/>
                  </a:lnTo>
                  <a:lnTo>
                    <a:pt x="1475" y="2467"/>
                  </a:lnTo>
                  <a:lnTo>
                    <a:pt x="1475" y="2358"/>
                  </a:lnTo>
                  <a:close/>
                  <a:moveTo>
                    <a:pt x="1100" y="2358"/>
                  </a:moveTo>
                  <a:lnTo>
                    <a:pt x="1421" y="2358"/>
                  </a:lnTo>
                  <a:lnTo>
                    <a:pt x="1421" y="2467"/>
                  </a:lnTo>
                  <a:lnTo>
                    <a:pt x="1100" y="2467"/>
                  </a:lnTo>
                  <a:lnTo>
                    <a:pt x="1100" y="2358"/>
                  </a:lnTo>
                  <a:close/>
                  <a:moveTo>
                    <a:pt x="721" y="2358"/>
                  </a:moveTo>
                  <a:lnTo>
                    <a:pt x="1046" y="2358"/>
                  </a:lnTo>
                  <a:lnTo>
                    <a:pt x="1046" y="2467"/>
                  </a:lnTo>
                  <a:lnTo>
                    <a:pt x="721" y="2467"/>
                  </a:lnTo>
                  <a:lnTo>
                    <a:pt x="721" y="2358"/>
                  </a:lnTo>
                  <a:close/>
                  <a:moveTo>
                    <a:pt x="367" y="2358"/>
                  </a:moveTo>
                  <a:lnTo>
                    <a:pt x="667" y="2358"/>
                  </a:lnTo>
                  <a:lnTo>
                    <a:pt x="667" y="2467"/>
                  </a:lnTo>
                  <a:lnTo>
                    <a:pt x="367" y="2467"/>
                  </a:lnTo>
                  <a:lnTo>
                    <a:pt x="367" y="2358"/>
                  </a:lnTo>
                  <a:close/>
                  <a:moveTo>
                    <a:pt x="1475" y="2675"/>
                  </a:moveTo>
                  <a:lnTo>
                    <a:pt x="1780" y="2675"/>
                  </a:lnTo>
                  <a:lnTo>
                    <a:pt x="1780" y="2783"/>
                  </a:lnTo>
                  <a:lnTo>
                    <a:pt x="1475" y="2783"/>
                  </a:lnTo>
                  <a:lnTo>
                    <a:pt x="1475" y="2675"/>
                  </a:lnTo>
                  <a:close/>
                  <a:moveTo>
                    <a:pt x="1100" y="2675"/>
                  </a:moveTo>
                  <a:lnTo>
                    <a:pt x="1421" y="2675"/>
                  </a:lnTo>
                  <a:lnTo>
                    <a:pt x="1421" y="2783"/>
                  </a:lnTo>
                  <a:lnTo>
                    <a:pt x="1100" y="2783"/>
                  </a:lnTo>
                  <a:lnTo>
                    <a:pt x="1100" y="2675"/>
                  </a:lnTo>
                  <a:close/>
                  <a:moveTo>
                    <a:pt x="721" y="2675"/>
                  </a:moveTo>
                  <a:lnTo>
                    <a:pt x="1046" y="2675"/>
                  </a:lnTo>
                  <a:lnTo>
                    <a:pt x="1046" y="2783"/>
                  </a:lnTo>
                  <a:lnTo>
                    <a:pt x="721" y="2783"/>
                  </a:lnTo>
                  <a:lnTo>
                    <a:pt x="721" y="2675"/>
                  </a:lnTo>
                  <a:close/>
                  <a:moveTo>
                    <a:pt x="367" y="2675"/>
                  </a:moveTo>
                  <a:lnTo>
                    <a:pt x="667" y="2675"/>
                  </a:lnTo>
                  <a:lnTo>
                    <a:pt x="667" y="2783"/>
                  </a:lnTo>
                  <a:lnTo>
                    <a:pt x="367" y="2783"/>
                  </a:lnTo>
                  <a:lnTo>
                    <a:pt x="367" y="2675"/>
                  </a:lnTo>
                  <a:close/>
                  <a:moveTo>
                    <a:pt x="4979" y="1467"/>
                  </a:moveTo>
                  <a:lnTo>
                    <a:pt x="4673" y="919"/>
                  </a:lnTo>
                  <a:lnTo>
                    <a:pt x="4551" y="1345"/>
                  </a:lnTo>
                  <a:lnTo>
                    <a:pt x="4979" y="1467"/>
                  </a:lnTo>
                  <a:close/>
                  <a:moveTo>
                    <a:pt x="2789" y="267"/>
                  </a:moveTo>
                  <a:lnTo>
                    <a:pt x="2574" y="1018"/>
                  </a:lnTo>
                  <a:lnTo>
                    <a:pt x="2365" y="958"/>
                  </a:lnTo>
                  <a:lnTo>
                    <a:pt x="2642" y="0"/>
                  </a:lnTo>
                  <a:lnTo>
                    <a:pt x="4749" y="603"/>
                  </a:lnTo>
                  <a:lnTo>
                    <a:pt x="5280" y="1564"/>
                  </a:lnTo>
                  <a:lnTo>
                    <a:pt x="5224" y="1763"/>
                  </a:lnTo>
                  <a:lnTo>
                    <a:pt x="4283" y="1494"/>
                  </a:lnTo>
                  <a:lnTo>
                    <a:pt x="4494" y="756"/>
                  </a:lnTo>
                  <a:lnTo>
                    <a:pt x="2789" y="267"/>
                  </a:lnTo>
                  <a:close/>
                  <a:moveTo>
                    <a:pt x="1803" y="3806"/>
                  </a:moveTo>
                  <a:lnTo>
                    <a:pt x="4213" y="4495"/>
                  </a:lnTo>
                  <a:lnTo>
                    <a:pt x="4956" y="1912"/>
                  </a:lnTo>
                  <a:lnTo>
                    <a:pt x="5163" y="1972"/>
                  </a:lnTo>
                  <a:lnTo>
                    <a:pt x="4362" y="4763"/>
                  </a:lnTo>
                  <a:lnTo>
                    <a:pt x="1743" y="4015"/>
                  </a:lnTo>
                  <a:lnTo>
                    <a:pt x="1803" y="3806"/>
                  </a:lnTo>
                  <a:close/>
                  <a:moveTo>
                    <a:pt x="2866" y="1954"/>
                  </a:moveTo>
                  <a:lnTo>
                    <a:pt x="2694" y="2548"/>
                  </a:lnTo>
                  <a:lnTo>
                    <a:pt x="2547" y="2506"/>
                  </a:lnTo>
                  <a:lnTo>
                    <a:pt x="2717" y="1911"/>
                  </a:lnTo>
                  <a:lnTo>
                    <a:pt x="2505" y="1850"/>
                  </a:lnTo>
                  <a:lnTo>
                    <a:pt x="2547" y="1704"/>
                  </a:lnTo>
                  <a:lnTo>
                    <a:pt x="3121" y="1867"/>
                  </a:lnTo>
                  <a:lnTo>
                    <a:pt x="3079" y="2015"/>
                  </a:lnTo>
                  <a:lnTo>
                    <a:pt x="2866" y="1954"/>
                  </a:lnTo>
                  <a:close/>
                  <a:moveTo>
                    <a:pt x="3681" y="2831"/>
                  </a:moveTo>
                  <a:lnTo>
                    <a:pt x="3517" y="2785"/>
                  </a:lnTo>
                  <a:lnTo>
                    <a:pt x="3506" y="2602"/>
                  </a:lnTo>
                  <a:lnTo>
                    <a:pt x="3236" y="2525"/>
                  </a:lnTo>
                  <a:lnTo>
                    <a:pt x="3130" y="2672"/>
                  </a:lnTo>
                  <a:lnTo>
                    <a:pt x="2970" y="2628"/>
                  </a:lnTo>
                  <a:lnTo>
                    <a:pt x="3467" y="1967"/>
                  </a:lnTo>
                  <a:lnTo>
                    <a:pt x="3610" y="2009"/>
                  </a:lnTo>
                  <a:lnTo>
                    <a:pt x="3681" y="2831"/>
                  </a:lnTo>
                  <a:close/>
                  <a:moveTo>
                    <a:pt x="3495" y="2446"/>
                  </a:moveTo>
                  <a:lnTo>
                    <a:pt x="3481" y="2181"/>
                  </a:lnTo>
                  <a:lnTo>
                    <a:pt x="3326" y="2398"/>
                  </a:lnTo>
                  <a:lnTo>
                    <a:pt x="3495" y="2446"/>
                  </a:lnTo>
                  <a:close/>
                  <a:moveTo>
                    <a:pt x="4424" y="3045"/>
                  </a:moveTo>
                  <a:lnTo>
                    <a:pt x="4246" y="2993"/>
                  </a:lnTo>
                  <a:lnTo>
                    <a:pt x="4171" y="2701"/>
                  </a:lnTo>
                  <a:lnTo>
                    <a:pt x="3953" y="2909"/>
                  </a:lnTo>
                  <a:lnTo>
                    <a:pt x="3776" y="2858"/>
                  </a:lnTo>
                  <a:lnTo>
                    <a:pt x="4119" y="2547"/>
                  </a:lnTo>
                  <a:lnTo>
                    <a:pt x="3999" y="2120"/>
                  </a:lnTo>
                  <a:lnTo>
                    <a:pt x="4176" y="2170"/>
                  </a:lnTo>
                  <a:lnTo>
                    <a:pt x="4245" y="2444"/>
                  </a:lnTo>
                  <a:lnTo>
                    <a:pt x="4448" y="2249"/>
                  </a:lnTo>
                  <a:lnTo>
                    <a:pt x="4625" y="2299"/>
                  </a:lnTo>
                  <a:lnTo>
                    <a:pt x="4297" y="2598"/>
                  </a:lnTo>
                  <a:lnTo>
                    <a:pt x="4424" y="3045"/>
                  </a:ln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1715206" name="Picture 6" descr="http://www.uicpiemonte.it/images/marchi/logo%20inps.jpg/image_preview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3635" y="4758415"/>
            <a:ext cx="636338" cy="792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TextBox 73"/>
          <p:cNvSpPr txBox="1"/>
          <p:nvPr/>
        </p:nvSpPr>
        <p:spPr>
          <a:xfrm>
            <a:off x="441754" y="5545970"/>
            <a:ext cx="1486826" cy="534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PS and other welfare institutions (e.g. private </a:t>
            </a:r>
          </a:p>
          <a:p>
            <a:pPr algn="ctr"/>
            <a:r>
              <a:rPr lang="it-IT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ension funds)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4023704" y="4825586"/>
            <a:ext cx="1982427" cy="1000739"/>
            <a:chOff x="3728830" y="4942463"/>
            <a:chExt cx="1982427" cy="1000739"/>
          </a:xfrm>
        </p:grpSpPr>
        <p:pic>
          <p:nvPicPr>
            <p:cNvPr id="1715208" name="Picture 8" descr="https://d30y9cdsu7xlg0.cloudfront.net/png/23106-200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28830" y="4942463"/>
              <a:ext cx="1000739" cy="10007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15210" name="Picture 10" descr="https://d30y9cdsu7xlg0.cloudfront.net/png/9446-200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37090" y="5032631"/>
              <a:ext cx="827107" cy="8271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7" name="Picture 8" descr="Woman Pictogram silhouette illustration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943" r="34312"/>
            <a:stretch/>
          </p:blipFill>
          <p:spPr bwMode="auto">
            <a:xfrm>
              <a:off x="5374631" y="4990918"/>
              <a:ext cx="336626" cy="8688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extBox 21"/>
          <p:cNvSpPr txBox="1"/>
          <p:nvPr/>
        </p:nvSpPr>
        <p:spPr>
          <a:xfrm>
            <a:off x="4366827" y="2459554"/>
            <a:ext cx="129618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MPLOYEE</a:t>
            </a:r>
            <a:endParaRPr lang="it-IT" sz="1050" b="1" i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5" name="Freeform 39"/>
          <p:cNvSpPr>
            <a:spLocks noChangeAspect="1" noEditPoints="1"/>
          </p:cNvSpPr>
          <p:nvPr/>
        </p:nvSpPr>
        <p:spPr bwMode="auto">
          <a:xfrm>
            <a:off x="649500" y="1582295"/>
            <a:ext cx="948721" cy="796587"/>
          </a:xfrm>
          <a:custGeom>
            <a:avLst/>
            <a:gdLst>
              <a:gd name="T0" fmla="*/ 2147483647 w 5664"/>
              <a:gd name="T1" fmla="*/ 2147483647 h 4763"/>
              <a:gd name="T2" fmla="*/ 2147483647 w 5664"/>
              <a:gd name="T3" fmla="*/ 2147483647 h 4763"/>
              <a:gd name="T4" fmla="*/ 2147483647 w 5664"/>
              <a:gd name="T5" fmla="*/ 2147483647 h 4763"/>
              <a:gd name="T6" fmla="*/ 2147483647 w 5664"/>
              <a:gd name="T7" fmla="*/ 2147483647 h 4763"/>
              <a:gd name="T8" fmla="*/ 2147483647 w 5664"/>
              <a:gd name="T9" fmla="*/ 2147483647 h 4763"/>
              <a:gd name="T10" fmla="*/ 2147483647 w 5664"/>
              <a:gd name="T11" fmla="*/ 2147483647 h 4763"/>
              <a:gd name="T12" fmla="*/ 2147483647 w 5664"/>
              <a:gd name="T13" fmla="*/ 2147483647 h 4763"/>
              <a:gd name="T14" fmla="*/ 2147483647 w 5664"/>
              <a:gd name="T15" fmla="*/ 2147483647 h 4763"/>
              <a:gd name="T16" fmla="*/ 2147483647 w 5664"/>
              <a:gd name="T17" fmla="*/ 2147483647 h 4763"/>
              <a:gd name="T18" fmla="*/ 2147483647 w 5664"/>
              <a:gd name="T19" fmla="*/ 2147483647 h 4763"/>
              <a:gd name="T20" fmla="*/ 2147483647 w 5664"/>
              <a:gd name="T21" fmla="*/ 2147483647 h 4763"/>
              <a:gd name="T22" fmla="*/ 2147483647 w 5664"/>
              <a:gd name="T23" fmla="*/ 2147483647 h 4763"/>
              <a:gd name="T24" fmla="*/ 2147483647 w 5664"/>
              <a:gd name="T25" fmla="*/ 2147483647 h 4763"/>
              <a:gd name="T26" fmla="*/ 2147483647 w 5664"/>
              <a:gd name="T27" fmla="*/ 2147483647 h 4763"/>
              <a:gd name="T28" fmla="*/ 2147483647 w 5664"/>
              <a:gd name="T29" fmla="*/ 2147483647 h 4763"/>
              <a:gd name="T30" fmla="*/ 2147483647 w 5664"/>
              <a:gd name="T31" fmla="*/ 2147483647 h 4763"/>
              <a:gd name="T32" fmla="*/ 2147483647 w 5664"/>
              <a:gd name="T33" fmla="*/ 2147483647 h 4763"/>
              <a:gd name="T34" fmla="*/ 2147483647 w 5664"/>
              <a:gd name="T35" fmla="*/ 2147483647 h 4763"/>
              <a:gd name="T36" fmla="*/ 2147483647 w 5664"/>
              <a:gd name="T37" fmla="*/ 2147483647 h 4763"/>
              <a:gd name="T38" fmla="*/ 2147483647 w 5664"/>
              <a:gd name="T39" fmla="*/ 0 h 4763"/>
              <a:gd name="T40" fmla="*/ 2147483647 w 5664"/>
              <a:gd name="T41" fmla="*/ 2147483647 h 4763"/>
              <a:gd name="T42" fmla="*/ 2147483647 w 5664"/>
              <a:gd name="T43" fmla="*/ 2147483647 h 4763"/>
              <a:gd name="T44" fmla="*/ 2147483647 w 5664"/>
              <a:gd name="T45" fmla="*/ 2147483647 h 4763"/>
              <a:gd name="T46" fmla="*/ 2147483647 w 5664"/>
              <a:gd name="T47" fmla="*/ 2147483647 h 4763"/>
              <a:gd name="T48" fmla="*/ 2147483647 w 5664"/>
              <a:gd name="T49" fmla="*/ 2147483647 h 4763"/>
              <a:gd name="T50" fmla="*/ 2147483647 w 5664"/>
              <a:gd name="T51" fmla="*/ 2147483647 h 4763"/>
              <a:gd name="T52" fmla="*/ 2147483647 w 5664"/>
              <a:gd name="T53" fmla="*/ 2147483647 h 4763"/>
              <a:gd name="T54" fmla="*/ 2147483647 w 5664"/>
              <a:gd name="T55" fmla="*/ 2147483647 h 4763"/>
              <a:gd name="T56" fmla="*/ 2147483647 w 5664"/>
              <a:gd name="T57" fmla="*/ 2147483647 h 4763"/>
              <a:gd name="T58" fmla="*/ 2147483647 w 5664"/>
              <a:gd name="T59" fmla="*/ 2147483647 h 4763"/>
              <a:gd name="T60" fmla="*/ 2147483647 w 5664"/>
              <a:gd name="T61" fmla="*/ 2147483647 h 4763"/>
              <a:gd name="T62" fmla="*/ 2147483647 w 5664"/>
              <a:gd name="T63" fmla="*/ 2147483647 h 4763"/>
              <a:gd name="T64" fmla="*/ 2147483647 w 5664"/>
              <a:gd name="T65" fmla="*/ 2147483647 h 4763"/>
              <a:gd name="T66" fmla="*/ 2147483647 w 5664"/>
              <a:gd name="T67" fmla="*/ 2147483647 h 4763"/>
              <a:gd name="T68" fmla="*/ 2147483647 w 5664"/>
              <a:gd name="T69" fmla="*/ 2147483647 h 4763"/>
              <a:gd name="T70" fmla="*/ 2147483647 w 5664"/>
              <a:gd name="T71" fmla="*/ 2147483647 h 4763"/>
              <a:gd name="T72" fmla="*/ 2147483647 w 5664"/>
              <a:gd name="T73" fmla="*/ 2147483647 h 4763"/>
              <a:gd name="T74" fmla="*/ 2147483647 w 5664"/>
              <a:gd name="T75" fmla="*/ 2147483647 h 4763"/>
              <a:gd name="T76" fmla="*/ 2147483647 w 5664"/>
              <a:gd name="T77" fmla="*/ 2147483647 h 4763"/>
              <a:gd name="T78" fmla="*/ 2147483647 w 5664"/>
              <a:gd name="T79" fmla="*/ 2147483647 h 4763"/>
              <a:gd name="T80" fmla="*/ 2147483647 w 5664"/>
              <a:gd name="T81" fmla="*/ 2147483647 h 4763"/>
              <a:gd name="T82" fmla="*/ 2147483647 w 5664"/>
              <a:gd name="T83" fmla="*/ 2147483647 h 4763"/>
              <a:gd name="T84" fmla="*/ 2147483647 w 5664"/>
              <a:gd name="T85" fmla="*/ 2147483647 h 4763"/>
              <a:gd name="T86" fmla="*/ 2147483647 w 5664"/>
              <a:gd name="T87" fmla="*/ 2147483647 h 4763"/>
              <a:gd name="T88" fmla="*/ 2147483647 w 5664"/>
              <a:gd name="T89" fmla="*/ 2147483647 h 4763"/>
              <a:gd name="T90" fmla="*/ 2147483647 w 5664"/>
              <a:gd name="T91" fmla="*/ 2147483647 h 4763"/>
              <a:gd name="T92" fmla="*/ 2147483647 w 5664"/>
              <a:gd name="T93" fmla="*/ 2147483647 h 4763"/>
              <a:gd name="T94" fmla="*/ 2147483647 w 5664"/>
              <a:gd name="T95" fmla="*/ 2147483647 h 4763"/>
              <a:gd name="T96" fmla="*/ 2147483647 w 5664"/>
              <a:gd name="T97" fmla="*/ 2147483647 h 4763"/>
              <a:gd name="T98" fmla="*/ 2147483647 w 5664"/>
              <a:gd name="T99" fmla="*/ 2147483647 h 4763"/>
              <a:gd name="T100" fmla="*/ 2147483647 w 5664"/>
              <a:gd name="T101" fmla="*/ 2147483647 h 4763"/>
              <a:gd name="T102" fmla="*/ 2147483647 w 5664"/>
              <a:gd name="T103" fmla="*/ 2147483647 h 4763"/>
              <a:gd name="T104" fmla="*/ 2147483647 w 5664"/>
              <a:gd name="T105" fmla="*/ 2147483647 h 4763"/>
              <a:gd name="T106" fmla="*/ 2147483647 w 5664"/>
              <a:gd name="T107" fmla="*/ 2147483647 h 4763"/>
              <a:gd name="T108" fmla="*/ 2147483647 w 5664"/>
              <a:gd name="T109" fmla="*/ 2147483647 h 4763"/>
              <a:gd name="T110" fmla="*/ 2147483647 w 5664"/>
              <a:gd name="T111" fmla="*/ 2147483647 h 4763"/>
              <a:gd name="T112" fmla="*/ 2147483647 w 5664"/>
              <a:gd name="T113" fmla="*/ 2147483647 h 4763"/>
              <a:gd name="T114" fmla="*/ 2147483647 w 5664"/>
              <a:gd name="T115" fmla="*/ 2147483647 h 4763"/>
              <a:gd name="T116" fmla="*/ 2147483647 w 5664"/>
              <a:gd name="T117" fmla="*/ 2147483647 h 4763"/>
              <a:gd name="T118" fmla="*/ 2147483647 w 5664"/>
              <a:gd name="T119" fmla="*/ 2147483647 h 4763"/>
              <a:gd name="T120" fmla="*/ 2147483647 w 5664"/>
              <a:gd name="T121" fmla="*/ 2147483647 h 4763"/>
              <a:gd name="T122" fmla="*/ 2147483647 w 5664"/>
              <a:gd name="T123" fmla="*/ 2147483647 h 4763"/>
              <a:gd name="T124" fmla="*/ 2147483647 w 5664"/>
              <a:gd name="T125" fmla="*/ 2147483647 h 476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5664"/>
              <a:gd name="T190" fmla="*/ 0 h 4763"/>
              <a:gd name="T191" fmla="*/ 5664 w 5664"/>
              <a:gd name="T192" fmla="*/ 4763 h 476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5664" h="4763">
                <a:moveTo>
                  <a:pt x="4896" y="2766"/>
                </a:moveTo>
                <a:lnTo>
                  <a:pt x="4896" y="3178"/>
                </a:lnTo>
                <a:lnTo>
                  <a:pt x="4660" y="3178"/>
                </a:lnTo>
                <a:lnTo>
                  <a:pt x="4660" y="2766"/>
                </a:lnTo>
                <a:lnTo>
                  <a:pt x="4896" y="2766"/>
                </a:lnTo>
                <a:close/>
                <a:moveTo>
                  <a:pt x="4660" y="3821"/>
                </a:moveTo>
                <a:lnTo>
                  <a:pt x="4660" y="4234"/>
                </a:lnTo>
                <a:lnTo>
                  <a:pt x="4896" y="4234"/>
                </a:lnTo>
                <a:lnTo>
                  <a:pt x="4896" y="3821"/>
                </a:lnTo>
                <a:lnTo>
                  <a:pt x="4660" y="3821"/>
                </a:lnTo>
                <a:close/>
                <a:moveTo>
                  <a:pt x="4421" y="3821"/>
                </a:moveTo>
                <a:lnTo>
                  <a:pt x="4421" y="4234"/>
                </a:lnTo>
                <a:lnTo>
                  <a:pt x="4185" y="4234"/>
                </a:lnTo>
                <a:lnTo>
                  <a:pt x="4185" y="3821"/>
                </a:lnTo>
                <a:lnTo>
                  <a:pt x="4421" y="3821"/>
                </a:lnTo>
                <a:close/>
                <a:moveTo>
                  <a:pt x="3889" y="3821"/>
                </a:moveTo>
                <a:lnTo>
                  <a:pt x="3889" y="4234"/>
                </a:lnTo>
                <a:lnTo>
                  <a:pt x="3653" y="4234"/>
                </a:lnTo>
                <a:lnTo>
                  <a:pt x="3653" y="3821"/>
                </a:lnTo>
                <a:lnTo>
                  <a:pt x="3889" y="3821"/>
                </a:lnTo>
                <a:close/>
                <a:moveTo>
                  <a:pt x="3357" y="3821"/>
                </a:moveTo>
                <a:lnTo>
                  <a:pt x="3357" y="4234"/>
                </a:lnTo>
                <a:lnTo>
                  <a:pt x="3121" y="4234"/>
                </a:lnTo>
                <a:lnTo>
                  <a:pt x="3121" y="3821"/>
                </a:lnTo>
                <a:lnTo>
                  <a:pt x="3357" y="3821"/>
                </a:lnTo>
                <a:close/>
                <a:moveTo>
                  <a:pt x="2825" y="3821"/>
                </a:moveTo>
                <a:lnTo>
                  <a:pt x="2825" y="4234"/>
                </a:lnTo>
                <a:lnTo>
                  <a:pt x="2589" y="4234"/>
                </a:lnTo>
                <a:lnTo>
                  <a:pt x="2589" y="3821"/>
                </a:lnTo>
                <a:lnTo>
                  <a:pt x="2825" y="3821"/>
                </a:lnTo>
                <a:close/>
                <a:moveTo>
                  <a:pt x="2292" y="3821"/>
                </a:moveTo>
                <a:lnTo>
                  <a:pt x="2292" y="4234"/>
                </a:lnTo>
                <a:lnTo>
                  <a:pt x="2057" y="4234"/>
                </a:lnTo>
                <a:lnTo>
                  <a:pt x="2057" y="3821"/>
                </a:lnTo>
                <a:lnTo>
                  <a:pt x="2292" y="3821"/>
                </a:lnTo>
                <a:close/>
                <a:moveTo>
                  <a:pt x="1760" y="3821"/>
                </a:moveTo>
                <a:lnTo>
                  <a:pt x="1760" y="4234"/>
                </a:lnTo>
                <a:lnTo>
                  <a:pt x="1524" y="4234"/>
                </a:lnTo>
                <a:lnTo>
                  <a:pt x="1524" y="3821"/>
                </a:lnTo>
                <a:lnTo>
                  <a:pt x="1760" y="3821"/>
                </a:lnTo>
                <a:close/>
                <a:moveTo>
                  <a:pt x="4421" y="2766"/>
                </a:moveTo>
                <a:lnTo>
                  <a:pt x="4421" y="3178"/>
                </a:lnTo>
                <a:lnTo>
                  <a:pt x="4185" y="3178"/>
                </a:lnTo>
                <a:lnTo>
                  <a:pt x="4185" y="2766"/>
                </a:lnTo>
                <a:lnTo>
                  <a:pt x="4421" y="2766"/>
                </a:lnTo>
                <a:close/>
                <a:moveTo>
                  <a:pt x="706" y="753"/>
                </a:moveTo>
                <a:lnTo>
                  <a:pt x="1228" y="753"/>
                </a:lnTo>
                <a:lnTo>
                  <a:pt x="1253" y="778"/>
                </a:lnTo>
                <a:lnTo>
                  <a:pt x="1281" y="803"/>
                </a:lnTo>
                <a:lnTo>
                  <a:pt x="1312" y="826"/>
                </a:lnTo>
                <a:lnTo>
                  <a:pt x="1344" y="848"/>
                </a:lnTo>
                <a:lnTo>
                  <a:pt x="1380" y="867"/>
                </a:lnTo>
                <a:lnTo>
                  <a:pt x="1418" y="886"/>
                </a:lnTo>
                <a:lnTo>
                  <a:pt x="1458" y="902"/>
                </a:lnTo>
                <a:lnTo>
                  <a:pt x="1498" y="917"/>
                </a:lnTo>
                <a:lnTo>
                  <a:pt x="1542" y="932"/>
                </a:lnTo>
                <a:lnTo>
                  <a:pt x="1586" y="943"/>
                </a:lnTo>
                <a:lnTo>
                  <a:pt x="1632" y="954"/>
                </a:lnTo>
                <a:lnTo>
                  <a:pt x="1679" y="963"/>
                </a:lnTo>
                <a:lnTo>
                  <a:pt x="1726" y="969"/>
                </a:lnTo>
                <a:lnTo>
                  <a:pt x="1776" y="973"/>
                </a:lnTo>
                <a:lnTo>
                  <a:pt x="1827" y="976"/>
                </a:lnTo>
                <a:lnTo>
                  <a:pt x="1877" y="977"/>
                </a:lnTo>
                <a:lnTo>
                  <a:pt x="1934" y="976"/>
                </a:lnTo>
                <a:lnTo>
                  <a:pt x="1990" y="973"/>
                </a:lnTo>
                <a:lnTo>
                  <a:pt x="2045" y="966"/>
                </a:lnTo>
                <a:lnTo>
                  <a:pt x="2099" y="958"/>
                </a:lnTo>
                <a:lnTo>
                  <a:pt x="2102" y="979"/>
                </a:lnTo>
                <a:lnTo>
                  <a:pt x="2107" y="999"/>
                </a:lnTo>
                <a:lnTo>
                  <a:pt x="2113" y="1020"/>
                </a:lnTo>
                <a:lnTo>
                  <a:pt x="2120" y="1039"/>
                </a:lnTo>
                <a:lnTo>
                  <a:pt x="2127" y="1060"/>
                </a:lnTo>
                <a:lnTo>
                  <a:pt x="2136" y="1078"/>
                </a:lnTo>
                <a:lnTo>
                  <a:pt x="2146" y="1097"/>
                </a:lnTo>
                <a:lnTo>
                  <a:pt x="2158" y="1114"/>
                </a:lnTo>
                <a:lnTo>
                  <a:pt x="2170" y="1132"/>
                </a:lnTo>
                <a:lnTo>
                  <a:pt x="2183" y="1148"/>
                </a:lnTo>
                <a:lnTo>
                  <a:pt x="2198" y="1165"/>
                </a:lnTo>
                <a:lnTo>
                  <a:pt x="2213" y="1179"/>
                </a:lnTo>
                <a:lnTo>
                  <a:pt x="2229" y="1196"/>
                </a:lnTo>
                <a:lnTo>
                  <a:pt x="2245" y="1209"/>
                </a:lnTo>
                <a:lnTo>
                  <a:pt x="2263" y="1224"/>
                </a:lnTo>
                <a:lnTo>
                  <a:pt x="2281" y="1237"/>
                </a:lnTo>
                <a:lnTo>
                  <a:pt x="2300" y="1249"/>
                </a:lnTo>
                <a:lnTo>
                  <a:pt x="2319" y="1260"/>
                </a:lnTo>
                <a:lnTo>
                  <a:pt x="2338" y="1271"/>
                </a:lnTo>
                <a:lnTo>
                  <a:pt x="2359" y="1281"/>
                </a:lnTo>
                <a:lnTo>
                  <a:pt x="2381" y="1291"/>
                </a:lnTo>
                <a:lnTo>
                  <a:pt x="2403" y="1300"/>
                </a:lnTo>
                <a:lnTo>
                  <a:pt x="2425" y="1308"/>
                </a:lnTo>
                <a:lnTo>
                  <a:pt x="2447" y="1315"/>
                </a:lnTo>
                <a:lnTo>
                  <a:pt x="2471" y="1322"/>
                </a:lnTo>
                <a:lnTo>
                  <a:pt x="2494" y="1328"/>
                </a:lnTo>
                <a:lnTo>
                  <a:pt x="2518" y="1333"/>
                </a:lnTo>
                <a:lnTo>
                  <a:pt x="2542" y="1337"/>
                </a:lnTo>
                <a:lnTo>
                  <a:pt x="2567" y="1340"/>
                </a:lnTo>
                <a:lnTo>
                  <a:pt x="2592" y="1341"/>
                </a:lnTo>
                <a:lnTo>
                  <a:pt x="2617" y="1343"/>
                </a:lnTo>
                <a:lnTo>
                  <a:pt x="2642" y="1343"/>
                </a:lnTo>
                <a:lnTo>
                  <a:pt x="2688" y="1343"/>
                </a:lnTo>
                <a:lnTo>
                  <a:pt x="2733" y="1339"/>
                </a:lnTo>
                <a:lnTo>
                  <a:pt x="2777" y="1333"/>
                </a:lnTo>
                <a:lnTo>
                  <a:pt x="2819" y="1325"/>
                </a:lnTo>
                <a:lnTo>
                  <a:pt x="2860" y="1313"/>
                </a:lnTo>
                <a:lnTo>
                  <a:pt x="2898" y="1302"/>
                </a:lnTo>
                <a:lnTo>
                  <a:pt x="2937" y="1285"/>
                </a:lnTo>
                <a:lnTo>
                  <a:pt x="2972" y="1268"/>
                </a:lnTo>
                <a:lnTo>
                  <a:pt x="3007" y="1247"/>
                </a:lnTo>
                <a:lnTo>
                  <a:pt x="3040" y="1225"/>
                </a:lnTo>
                <a:lnTo>
                  <a:pt x="3072" y="1200"/>
                </a:lnTo>
                <a:lnTo>
                  <a:pt x="3102" y="1172"/>
                </a:lnTo>
                <a:lnTo>
                  <a:pt x="3130" y="1142"/>
                </a:lnTo>
                <a:lnTo>
                  <a:pt x="3158" y="1110"/>
                </a:lnTo>
                <a:lnTo>
                  <a:pt x="3184" y="1075"/>
                </a:lnTo>
                <a:lnTo>
                  <a:pt x="3208" y="1038"/>
                </a:lnTo>
                <a:lnTo>
                  <a:pt x="3264" y="1032"/>
                </a:lnTo>
                <a:lnTo>
                  <a:pt x="3320" y="1025"/>
                </a:lnTo>
                <a:lnTo>
                  <a:pt x="3373" y="1016"/>
                </a:lnTo>
                <a:lnTo>
                  <a:pt x="3426" y="1002"/>
                </a:lnTo>
                <a:lnTo>
                  <a:pt x="3476" y="988"/>
                </a:lnTo>
                <a:lnTo>
                  <a:pt x="3525" y="971"/>
                </a:lnTo>
                <a:lnTo>
                  <a:pt x="3571" y="952"/>
                </a:lnTo>
                <a:lnTo>
                  <a:pt x="3613" y="930"/>
                </a:lnTo>
                <a:lnTo>
                  <a:pt x="3633" y="920"/>
                </a:lnTo>
                <a:lnTo>
                  <a:pt x="3652" y="908"/>
                </a:lnTo>
                <a:lnTo>
                  <a:pt x="3669" y="895"/>
                </a:lnTo>
                <a:lnTo>
                  <a:pt x="3687" y="882"/>
                </a:lnTo>
                <a:lnTo>
                  <a:pt x="3703" y="868"/>
                </a:lnTo>
                <a:lnTo>
                  <a:pt x="3718" y="854"/>
                </a:lnTo>
                <a:lnTo>
                  <a:pt x="3731" y="839"/>
                </a:lnTo>
                <a:lnTo>
                  <a:pt x="3743" y="824"/>
                </a:lnTo>
                <a:lnTo>
                  <a:pt x="3755" y="808"/>
                </a:lnTo>
                <a:lnTo>
                  <a:pt x="3764" y="792"/>
                </a:lnTo>
                <a:lnTo>
                  <a:pt x="3773" y="775"/>
                </a:lnTo>
                <a:lnTo>
                  <a:pt x="3780" y="758"/>
                </a:lnTo>
                <a:lnTo>
                  <a:pt x="3786" y="740"/>
                </a:lnTo>
                <a:lnTo>
                  <a:pt x="3789" y="722"/>
                </a:lnTo>
                <a:lnTo>
                  <a:pt x="3792" y="703"/>
                </a:lnTo>
                <a:lnTo>
                  <a:pt x="3793" y="685"/>
                </a:lnTo>
                <a:lnTo>
                  <a:pt x="3792" y="663"/>
                </a:lnTo>
                <a:lnTo>
                  <a:pt x="3789" y="643"/>
                </a:lnTo>
                <a:lnTo>
                  <a:pt x="3784" y="624"/>
                </a:lnTo>
                <a:lnTo>
                  <a:pt x="3777" y="604"/>
                </a:lnTo>
                <a:lnTo>
                  <a:pt x="3770" y="585"/>
                </a:lnTo>
                <a:lnTo>
                  <a:pt x="3759" y="568"/>
                </a:lnTo>
                <a:lnTo>
                  <a:pt x="3747" y="550"/>
                </a:lnTo>
                <a:lnTo>
                  <a:pt x="3734" y="534"/>
                </a:lnTo>
                <a:lnTo>
                  <a:pt x="3719" y="517"/>
                </a:lnTo>
                <a:lnTo>
                  <a:pt x="3703" y="501"/>
                </a:lnTo>
                <a:lnTo>
                  <a:pt x="3686" y="486"/>
                </a:lnTo>
                <a:lnTo>
                  <a:pt x="3666" y="473"/>
                </a:lnTo>
                <a:lnTo>
                  <a:pt x="3647" y="458"/>
                </a:lnTo>
                <a:lnTo>
                  <a:pt x="3625" y="445"/>
                </a:lnTo>
                <a:lnTo>
                  <a:pt x="3603" y="433"/>
                </a:lnTo>
                <a:lnTo>
                  <a:pt x="3579" y="422"/>
                </a:lnTo>
                <a:lnTo>
                  <a:pt x="3556" y="411"/>
                </a:lnTo>
                <a:lnTo>
                  <a:pt x="3531" y="401"/>
                </a:lnTo>
                <a:lnTo>
                  <a:pt x="3504" y="391"/>
                </a:lnTo>
                <a:lnTo>
                  <a:pt x="3478" y="382"/>
                </a:lnTo>
                <a:lnTo>
                  <a:pt x="3422" y="366"/>
                </a:lnTo>
                <a:lnTo>
                  <a:pt x="3364" y="352"/>
                </a:lnTo>
                <a:lnTo>
                  <a:pt x="3305" y="342"/>
                </a:lnTo>
                <a:lnTo>
                  <a:pt x="3245" y="335"/>
                </a:lnTo>
                <a:lnTo>
                  <a:pt x="3183" y="330"/>
                </a:lnTo>
                <a:lnTo>
                  <a:pt x="3121" y="329"/>
                </a:lnTo>
                <a:lnTo>
                  <a:pt x="3053" y="330"/>
                </a:lnTo>
                <a:lnTo>
                  <a:pt x="2987" y="336"/>
                </a:lnTo>
                <a:lnTo>
                  <a:pt x="2923" y="343"/>
                </a:lnTo>
                <a:lnTo>
                  <a:pt x="2863" y="355"/>
                </a:lnTo>
                <a:lnTo>
                  <a:pt x="2857" y="336"/>
                </a:lnTo>
                <a:lnTo>
                  <a:pt x="2851" y="317"/>
                </a:lnTo>
                <a:lnTo>
                  <a:pt x="2844" y="298"/>
                </a:lnTo>
                <a:lnTo>
                  <a:pt x="2836" y="280"/>
                </a:lnTo>
                <a:lnTo>
                  <a:pt x="2828" y="261"/>
                </a:lnTo>
                <a:lnTo>
                  <a:pt x="2817" y="245"/>
                </a:lnTo>
                <a:lnTo>
                  <a:pt x="2807" y="227"/>
                </a:lnTo>
                <a:lnTo>
                  <a:pt x="2795" y="211"/>
                </a:lnTo>
                <a:lnTo>
                  <a:pt x="2782" y="195"/>
                </a:lnTo>
                <a:lnTo>
                  <a:pt x="2769" y="180"/>
                </a:lnTo>
                <a:lnTo>
                  <a:pt x="2754" y="165"/>
                </a:lnTo>
                <a:lnTo>
                  <a:pt x="2739" y="150"/>
                </a:lnTo>
                <a:lnTo>
                  <a:pt x="2723" y="137"/>
                </a:lnTo>
                <a:lnTo>
                  <a:pt x="2707" y="124"/>
                </a:lnTo>
                <a:lnTo>
                  <a:pt x="2673" y="99"/>
                </a:lnTo>
                <a:lnTo>
                  <a:pt x="2634" y="77"/>
                </a:lnTo>
                <a:lnTo>
                  <a:pt x="2595" y="57"/>
                </a:lnTo>
                <a:lnTo>
                  <a:pt x="2553" y="40"/>
                </a:lnTo>
                <a:lnTo>
                  <a:pt x="2511" y="27"/>
                </a:lnTo>
                <a:lnTo>
                  <a:pt x="2466" y="15"/>
                </a:lnTo>
                <a:lnTo>
                  <a:pt x="2419" y="7"/>
                </a:lnTo>
                <a:lnTo>
                  <a:pt x="2374" y="3"/>
                </a:lnTo>
                <a:lnTo>
                  <a:pt x="2325" y="0"/>
                </a:lnTo>
                <a:lnTo>
                  <a:pt x="2300" y="1"/>
                </a:lnTo>
                <a:lnTo>
                  <a:pt x="2275" y="3"/>
                </a:lnTo>
                <a:lnTo>
                  <a:pt x="2251" y="4"/>
                </a:lnTo>
                <a:lnTo>
                  <a:pt x="2226" y="7"/>
                </a:lnTo>
                <a:lnTo>
                  <a:pt x="2179" y="16"/>
                </a:lnTo>
                <a:lnTo>
                  <a:pt x="2133" y="28"/>
                </a:lnTo>
                <a:lnTo>
                  <a:pt x="2089" y="43"/>
                </a:lnTo>
                <a:lnTo>
                  <a:pt x="2046" y="60"/>
                </a:lnTo>
                <a:lnTo>
                  <a:pt x="2006" y="81"/>
                </a:lnTo>
                <a:lnTo>
                  <a:pt x="1987" y="93"/>
                </a:lnTo>
                <a:lnTo>
                  <a:pt x="1970" y="105"/>
                </a:lnTo>
                <a:lnTo>
                  <a:pt x="1924" y="102"/>
                </a:lnTo>
                <a:lnTo>
                  <a:pt x="1877" y="102"/>
                </a:lnTo>
                <a:lnTo>
                  <a:pt x="1818" y="103"/>
                </a:lnTo>
                <a:lnTo>
                  <a:pt x="1760" y="108"/>
                </a:lnTo>
                <a:lnTo>
                  <a:pt x="1704" y="114"/>
                </a:lnTo>
                <a:lnTo>
                  <a:pt x="1648" y="122"/>
                </a:lnTo>
                <a:lnTo>
                  <a:pt x="1594" y="134"/>
                </a:lnTo>
                <a:lnTo>
                  <a:pt x="1541" y="147"/>
                </a:lnTo>
                <a:lnTo>
                  <a:pt x="1490" y="164"/>
                </a:lnTo>
                <a:lnTo>
                  <a:pt x="1443" y="183"/>
                </a:lnTo>
                <a:lnTo>
                  <a:pt x="1398" y="203"/>
                </a:lnTo>
                <a:lnTo>
                  <a:pt x="1355" y="227"/>
                </a:lnTo>
                <a:lnTo>
                  <a:pt x="1315" y="252"/>
                </a:lnTo>
                <a:lnTo>
                  <a:pt x="1296" y="265"/>
                </a:lnTo>
                <a:lnTo>
                  <a:pt x="1278" y="279"/>
                </a:lnTo>
                <a:lnTo>
                  <a:pt x="1260" y="292"/>
                </a:lnTo>
                <a:lnTo>
                  <a:pt x="1246" y="307"/>
                </a:lnTo>
                <a:lnTo>
                  <a:pt x="1230" y="323"/>
                </a:lnTo>
                <a:lnTo>
                  <a:pt x="1216" y="338"/>
                </a:lnTo>
                <a:lnTo>
                  <a:pt x="1203" y="354"/>
                </a:lnTo>
                <a:lnTo>
                  <a:pt x="1191" y="370"/>
                </a:lnTo>
                <a:lnTo>
                  <a:pt x="1179" y="388"/>
                </a:lnTo>
                <a:lnTo>
                  <a:pt x="1171" y="405"/>
                </a:lnTo>
                <a:lnTo>
                  <a:pt x="1151" y="405"/>
                </a:lnTo>
                <a:lnTo>
                  <a:pt x="1107" y="405"/>
                </a:lnTo>
                <a:lnTo>
                  <a:pt x="1063" y="410"/>
                </a:lnTo>
                <a:lnTo>
                  <a:pt x="1020" y="416"/>
                </a:lnTo>
                <a:lnTo>
                  <a:pt x="979" y="423"/>
                </a:lnTo>
                <a:lnTo>
                  <a:pt x="939" y="433"/>
                </a:lnTo>
                <a:lnTo>
                  <a:pt x="899" y="447"/>
                </a:lnTo>
                <a:lnTo>
                  <a:pt x="862" y="461"/>
                </a:lnTo>
                <a:lnTo>
                  <a:pt x="826" y="478"/>
                </a:lnTo>
                <a:lnTo>
                  <a:pt x="793" y="497"/>
                </a:lnTo>
                <a:lnTo>
                  <a:pt x="762" y="517"/>
                </a:lnTo>
                <a:lnTo>
                  <a:pt x="734" y="541"/>
                </a:lnTo>
                <a:lnTo>
                  <a:pt x="722" y="553"/>
                </a:lnTo>
                <a:lnTo>
                  <a:pt x="711" y="565"/>
                </a:lnTo>
                <a:lnTo>
                  <a:pt x="699" y="578"/>
                </a:lnTo>
                <a:lnTo>
                  <a:pt x="688" y="591"/>
                </a:lnTo>
                <a:lnTo>
                  <a:pt x="680" y="606"/>
                </a:lnTo>
                <a:lnTo>
                  <a:pt x="671" y="619"/>
                </a:lnTo>
                <a:lnTo>
                  <a:pt x="663" y="635"/>
                </a:lnTo>
                <a:lnTo>
                  <a:pt x="658" y="650"/>
                </a:lnTo>
                <a:lnTo>
                  <a:pt x="653" y="666"/>
                </a:lnTo>
                <a:lnTo>
                  <a:pt x="649" y="681"/>
                </a:lnTo>
                <a:lnTo>
                  <a:pt x="647" y="696"/>
                </a:lnTo>
                <a:lnTo>
                  <a:pt x="649" y="711"/>
                </a:lnTo>
                <a:lnTo>
                  <a:pt x="652" y="722"/>
                </a:lnTo>
                <a:lnTo>
                  <a:pt x="659" y="733"/>
                </a:lnTo>
                <a:lnTo>
                  <a:pt x="668" y="742"/>
                </a:lnTo>
                <a:lnTo>
                  <a:pt x="678" y="747"/>
                </a:lnTo>
                <a:lnTo>
                  <a:pt x="691" y="752"/>
                </a:lnTo>
                <a:lnTo>
                  <a:pt x="706" y="753"/>
                </a:lnTo>
                <a:close/>
                <a:moveTo>
                  <a:pt x="1151" y="523"/>
                </a:moveTo>
                <a:lnTo>
                  <a:pt x="1151" y="523"/>
                </a:lnTo>
                <a:lnTo>
                  <a:pt x="1181" y="523"/>
                </a:lnTo>
                <a:lnTo>
                  <a:pt x="1199" y="523"/>
                </a:lnTo>
                <a:lnTo>
                  <a:pt x="1215" y="522"/>
                </a:lnTo>
                <a:lnTo>
                  <a:pt x="1230" y="517"/>
                </a:lnTo>
                <a:lnTo>
                  <a:pt x="1237" y="514"/>
                </a:lnTo>
                <a:lnTo>
                  <a:pt x="1244" y="512"/>
                </a:lnTo>
                <a:lnTo>
                  <a:pt x="1250" y="507"/>
                </a:lnTo>
                <a:lnTo>
                  <a:pt x="1255" y="501"/>
                </a:lnTo>
                <a:lnTo>
                  <a:pt x="1259" y="494"/>
                </a:lnTo>
                <a:lnTo>
                  <a:pt x="1263" y="485"/>
                </a:lnTo>
                <a:lnTo>
                  <a:pt x="1268" y="473"/>
                </a:lnTo>
                <a:lnTo>
                  <a:pt x="1275" y="460"/>
                </a:lnTo>
                <a:lnTo>
                  <a:pt x="1281" y="448"/>
                </a:lnTo>
                <a:lnTo>
                  <a:pt x="1290" y="435"/>
                </a:lnTo>
                <a:lnTo>
                  <a:pt x="1300" y="423"/>
                </a:lnTo>
                <a:lnTo>
                  <a:pt x="1311" y="410"/>
                </a:lnTo>
                <a:lnTo>
                  <a:pt x="1334" y="386"/>
                </a:lnTo>
                <a:lnTo>
                  <a:pt x="1361" y="364"/>
                </a:lnTo>
                <a:lnTo>
                  <a:pt x="1393" y="342"/>
                </a:lnTo>
                <a:lnTo>
                  <a:pt x="1427" y="321"/>
                </a:lnTo>
                <a:lnTo>
                  <a:pt x="1465" y="302"/>
                </a:lnTo>
                <a:lnTo>
                  <a:pt x="1508" y="283"/>
                </a:lnTo>
                <a:lnTo>
                  <a:pt x="1552" y="268"/>
                </a:lnTo>
                <a:lnTo>
                  <a:pt x="1600" y="254"/>
                </a:lnTo>
                <a:lnTo>
                  <a:pt x="1650" y="242"/>
                </a:lnTo>
                <a:lnTo>
                  <a:pt x="1703" y="233"/>
                </a:lnTo>
                <a:lnTo>
                  <a:pt x="1759" y="226"/>
                </a:lnTo>
                <a:lnTo>
                  <a:pt x="1816" y="221"/>
                </a:lnTo>
                <a:lnTo>
                  <a:pt x="1877" y="220"/>
                </a:lnTo>
                <a:lnTo>
                  <a:pt x="1930" y="221"/>
                </a:lnTo>
                <a:lnTo>
                  <a:pt x="1980" y="224"/>
                </a:lnTo>
                <a:lnTo>
                  <a:pt x="1990" y="224"/>
                </a:lnTo>
                <a:lnTo>
                  <a:pt x="2001" y="221"/>
                </a:lnTo>
                <a:lnTo>
                  <a:pt x="2014" y="217"/>
                </a:lnTo>
                <a:lnTo>
                  <a:pt x="2027" y="209"/>
                </a:lnTo>
                <a:lnTo>
                  <a:pt x="2058" y="193"/>
                </a:lnTo>
                <a:lnTo>
                  <a:pt x="2096" y="172"/>
                </a:lnTo>
                <a:lnTo>
                  <a:pt x="2117" y="162"/>
                </a:lnTo>
                <a:lnTo>
                  <a:pt x="2141" y="153"/>
                </a:lnTo>
                <a:lnTo>
                  <a:pt x="2166" y="144"/>
                </a:lnTo>
                <a:lnTo>
                  <a:pt x="2194" y="136"/>
                </a:lnTo>
                <a:lnTo>
                  <a:pt x="2223" y="128"/>
                </a:lnTo>
                <a:lnTo>
                  <a:pt x="2256" y="124"/>
                </a:lnTo>
                <a:lnTo>
                  <a:pt x="2289" y="119"/>
                </a:lnTo>
                <a:lnTo>
                  <a:pt x="2325" y="118"/>
                </a:lnTo>
                <a:lnTo>
                  <a:pt x="2369" y="119"/>
                </a:lnTo>
                <a:lnTo>
                  <a:pt x="2409" y="122"/>
                </a:lnTo>
                <a:lnTo>
                  <a:pt x="2447" y="128"/>
                </a:lnTo>
                <a:lnTo>
                  <a:pt x="2481" y="136"/>
                </a:lnTo>
                <a:lnTo>
                  <a:pt x="2512" y="144"/>
                </a:lnTo>
                <a:lnTo>
                  <a:pt x="2540" y="156"/>
                </a:lnTo>
                <a:lnTo>
                  <a:pt x="2565" y="168"/>
                </a:lnTo>
                <a:lnTo>
                  <a:pt x="2589" y="181"/>
                </a:lnTo>
                <a:lnTo>
                  <a:pt x="2609" y="196"/>
                </a:lnTo>
                <a:lnTo>
                  <a:pt x="2629" y="212"/>
                </a:lnTo>
                <a:lnTo>
                  <a:pt x="2645" y="228"/>
                </a:lnTo>
                <a:lnTo>
                  <a:pt x="2660" y="245"/>
                </a:lnTo>
                <a:lnTo>
                  <a:pt x="2673" y="262"/>
                </a:lnTo>
                <a:lnTo>
                  <a:pt x="2685" y="282"/>
                </a:lnTo>
                <a:lnTo>
                  <a:pt x="2696" y="299"/>
                </a:lnTo>
                <a:lnTo>
                  <a:pt x="2705" y="317"/>
                </a:lnTo>
                <a:lnTo>
                  <a:pt x="2721" y="352"/>
                </a:lnTo>
                <a:lnTo>
                  <a:pt x="2733" y="388"/>
                </a:lnTo>
                <a:lnTo>
                  <a:pt x="2745" y="419"/>
                </a:lnTo>
                <a:lnTo>
                  <a:pt x="2757" y="445"/>
                </a:lnTo>
                <a:lnTo>
                  <a:pt x="2763" y="457"/>
                </a:lnTo>
                <a:lnTo>
                  <a:pt x="2770" y="466"/>
                </a:lnTo>
                <a:lnTo>
                  <a:pt x="2777" y="475"/>
                </a:lnTo>
                <a:lnTo>
                  <a:pt x="2785" y="481"/>
                </a:lnTo>
                <a:lnTo>
                  <a:pt x="2794" y="485"/>
                </a:lnTo>
                <a:lnTo>
                  <a:pt x="2804" y="488"/>
                </a:lnTo>
                <a:lnTo>
                  <a:pt x="2816" y="488"/>
                </a:lnTo>
                <a:lnTo>
                  <a:pt x="2828" y="485"/>
                </a:lnTo>
                <a:lnTo>
                  <a:pt x="2860" y="476"/>
                </a:lnTo>
                <a:lnTo>
                  <a:pt x="2894" y="469"/>
                </a:lnTo>
                <a:lnTo>
                  <a:pt x="2929" y="463"/>
                </a:lnTo>
                <a:lnTo>
                  <a:pt x="2966" y="457"/>
                </a:lnTo>
                <a:lnTo>
                  <a:pt x="3003" y="453"/>
                </a:lnTo>
                <a:lnTo>
                  <a:pt x="3041" y="450"/>
                </a:lnTo>
                <a:lnTo>
                  <a:pt x="3081" y="448"/>
                </a:lnTo>
                <a:lnTo>
                  <a:pt x="3121" y="447"/>
                </a:lnTo>
                <a:lnTo>
                  <a:pt x="3184" y="448"/>
                </a:lnTo>
                <a:lnTo>
                  <a:pt x="3245" y="453"/>
                </a:lnTo>
                <a:lnTo>
                  <a:pt x="3302" y="460"/>
                </a:lnTo>
                <a:lnTo>
                  <a:pt x="3355" y="470"/>
                </a:lnTo>
                <a:lnTo>
                  <a:pt x="3404" y="482"/>
                </a:lnTo>
                <a:lnTo>
                  <a:pt x="3450" y="495"/>
                </a:lnTo>
                <a:lnTo>
                  <a:pt x="3491" y="512"/>
                </a:lnTo>
                <a:lnTo>
                  <a:pt x="3529" y="528"/>
                </a:lnTo>
                <a:lnTo>
                  <a:pt x="3562" y="545"/>
                </a:lnTo>
                <a:lnTo>
                  <a:pt x="3591" y="565"/>
                </a:lnTo>
                <a:lnTo>
                  <a:pt x="3616" y="585"/>
                </a:lnTo>
                <a:lnTo>
                  <a:pt x="3637" y="604"/>
                </a:lnTo>
                <a:lnTo>
                  <a:pt x="3646" y="615"/>
                </a:lnTo>
                <a:lnTo>
                  <a:pt x="3653" y="625"/>
                </a:lnTo>
                <a:lnTo>
                  <a:pt x="3661" y="635"/>
                </a:lnTo>
                <a:lnTo>
                  <a:pt x="3665" y="646"/>
                </a:lnTo>
                <a:lnTo>
                  <a:pt x="3669" y="656"/>
                </a:lnTo>
                <a:lnTo>
                  <a:pt x="3672" y="665"/>
                </a:lnTo>
                <a:lnTo>
                  <a:pt x="3674" y="675"/>
                </a:lnTo>
                <a:lnTo>
                  <a:pt x="3675" y="685"/>
                </a:lnTo>
                <a:lnTo>
                  <a:pt x="3674" y="694"/>
                </a:lnTo>
                <a:lnTo>
                  <a:pt x="3672" y="705"/>
                </a:lnTo>
                <a:lnTo>
                  <a:pt x="3669" y="713"/>
                </a:lnTo>
                <a:lnTo>
                  <a:pt x="3665" y="724"/>
                </a:lnTo>
                <a:lnTo>
                  <a:pt x="3661" y="734"/>
                </a:lnTo>
                <a:lnTo>
                  <a:pt x="3653" y="744"/>
                </a:lnTo>
                <a:lnTo>
                  <a:pt x="3646" y="755"/>
                </a:lnTo>
                <a:lnTo>
                  <a:pt x="3637" y="765"/>
                </a:lnTo>
                <a:lnTo>
                  <a:pt x="3616" y="784"/>
                </a:lnTo>
                <a:lnTo>
                  <a:pt x="3591" y="805"/>
                </a:lnTo>
                <a:lnTo>
                  <a:pt x="3562" y="824"/>
                </a:lnTo>
                <a:lnTo>
                  <a:pt x="3529" y="842"/>
                </a:lnTo>
                <a:lnTo>
                  <a:pt x="3491" y="858"/>
                </a:lnTo>
                <a:lnTo>
                  <a:pt x="3450" y="874"/>
                </a:lnTo>
                <a:lnTo>
                  <a:pt x="3404" y="887"/>
                </a:lnTo>
                <a:lnTo>
                  <a:pt x="3355" y="899"/>
                </a:lnTo>
                <a:lnTo>
                  <a:pt x="3302" y="910"/>
                </a:lnTo>
                <a:lnTo>
                  <a:pt x="3245" y="917"/>
                </a:lnTo>
                <a:lnTo>
                  <a:pt x="3184" y="921"/>
                </a:lnTo>
                <a:lnTo>
                  <a:pt x="3121" y="923"/>
                </a:lnTo>
                <a:lnTo>
                  <a:pt x="3103" y="957"/>
                </a:lnTo>
                <a:lnTo>
                  <a:pt x="3083" y="988"/>
                </a:lnTo>
                <a:lnTo>
                  <a:pt x="3061" y="1019"/>
                </a:lnTo>
                <a:lnTo>
                  <a:pt x="3038" y="1047"/>
                </a:lnTo>
                <a:lnTo>
                  <a:pt x="3013" y="1073"/>
                </a:lnTo>
                <a:lnTo>
                  <a:pt x="2987" y="1098"/>
                </a:lnTo>
                <a:lnTo>
                  <a:pt x="2959" y="1122"/>
                </a:lnTo>
                <a:lnTo>
                  <a:pt x="2929" y="1142"/>
                </a:lnTo>
                <a:lnTo>
                  <a:pt x="2898" y="1162"/>
                </a:lnTo>
                <a:lnTo>
                  <a:pt x="2866" y="1178"/>
                </a:lnTo>
                <a:lnTo>
                  <a:pt x="2832" y="1193"/>
                </a:lnTo>
                <a:lnTo>
                  <a:pt x="2797" y="1204"/>
                </a:lnTo>
                <a:lnTo>
                  <a:pt x="2760" y="1213"/>
                </a:lnTo>
                <a:lnTo>
                  <a:pt x="2721" y="1221"/>
                </a:lnTo>
                <a:lnTo>
                  <a:pt x="2682" y="1225"/>
                </a:lnTo>
                <a:lnTo>
                  <a:pt x="2642" y="1225"/>
                </a:lnTo>
                <a:lnTo>
                  <a:pt x="2618" y="1225"/>
                </a:lnTo>
                <a:lnTo>
                  <a:pt x="2595" y="1224"/>
                </a:lnTo>
                <a:lnTo>
                  <a:pt x="2550" y="1219"/>
                </a:lnTo>
                <a:lnTo>
                  <a:pt x="2508" y="1210"/>
                </a:lnTo>
                <a:lnTo>
                  <a:pt x="2468" y="1198"/>
                </a:lnTo>
                <a:lnTo>
                  <a:pt x="2431" y="1185"/>
                </a:lnTo>
                <a:lnTo>
                  <a:pt x="2396" y="1169"/>
                </a:lnTo>
                <a:lnTo>
                  <a:pt x="2363" y="1150"/>
                </a:lnTo>
                <a:lnTo>
                  <a:pt x="2334" y="1129"/>
                </a:lnTo>
                <a:lnTo>
                  <a:pt x="2306" y="1106"/>
                </a:lnTo>
                <a:lnTo>
                  <a:pt x="2282" y="1082"/>
                </a:lnTo>
                <a:lnTo>
                  <a:pt x="2263" y="1055"/>
                </a:lnTo>
                <a:lnTo>
                  <a:pt x="2245" y="1029"/>
                </a:lnTo>
                <a:lnTo>
                  <a:pt x="2238" y="1014"/>
                </a:lnTo>
                <a:lnTo>
                  <a:pt x="2232" y="1001"/>
                </a:lnTo>
                <a:lnTo>
                  <a:pt x="2226" y="986"/>
                </a:lnTo>
                <a:lnTo>
                  <a:pt x="2222" y="971"/>
                </a:lnTo>
                <a:lnTo>
                  <a:pt x="2219" y="957"/>
                </a:lnTo>
                <a:lnTo>
                  <a:pt x="2216" y="942"/>
                </a:lnTo>
                <a:lnTo>
                  <a:pt x="2214" y="927"/>
                </a:lnTo>
                <a:lnTo>
                  <a:pt x="2214" y="913"/>
                </a:lnTo>
                <a:lnTo>
                  <a:pt x="2213" y="895"/>
                </a:lnTo>
                <a:lnTo>
                  <a:pt x="2213" y="877"/>
                </a:lnTo>
                <a:lnTo>
                  <a:pt x="2208" y="861"/>
                </a:lnTo>
                <a:lnTo>
                  <a:pt x="2207" y="854"/>
                </a:lnTo>
                <a:lnTo>
                  <a:pt x="2204" y="846"/>
                </a:lnTo>
                <a:lnTo>
                  <a:pt x="2200" y="840"/>
                </a:lnTo>
                <a:lnTo>
                  <a:pt x="2195" y="836"/>
                </a:lnTo>
                <a:lnTo>
                  <a:pt x="2189" y="831"/>
                </a:lnTo>
                <a:lnTo>
                  <a:pt x="2182" y="827"/>
                </a:lnTo>
                <a:lnTo>
                  <a:pt x="2173" y="826"/>
                </a:lnTo>
                <a:lnTo>
                  <a:pt x="2164" y="826"/>
                </a:lnTo>
                <a:lnTo>
                  <a:pt x="2154" y="826"/>
                </a:lnTo>
                <a:lnTo>
                  <a:pt x="2142" y="828"/>
                </a:lnTo>
                <a:lnTo>
                  <a:pt x="2111" y="836"/>
                </a:lnTo>
                <a:lnTo>
                  <a:pt x="2080" y="842"/>
                </a:lnTo>
                <a:lnTo>
                  <a:pt x="2048" y="846"/>
                </a:lnTo>
                <a:lnTo>
                  <a:pt x="2015" y="851"/>
                </a:lnTo>
                <a:lnTo>
                  <a:pt x="1981" y="855"/>
                </a:lnTo>
                <a:lnTo>
                  <a:pt x="1947" y="858"/>
                </a:lnTo>
                <a:lnTo>
                  <a:pt x="1912" y="859"/>
                </a:lnTo>
                <a:lnTo>
                  <a:pt x="1877" y="859"/>
                </a:lnTo>
                <a:lnTo>
                  <a:pt x="1835" y="859"/>
                </a:lnTo>
                <a:lnTo>
                  <a:pt x="1796" y="856"/>
                </a:lnTo>
                <a:lnTo>
                  <a:pt x="1759" y="854"/>
                </a:lnTo>
                <a:lnTo>
                  <a:pt x="1723" y="849"/>
                </a:lnTo>
                <a:lnTo>
                  <a:pt x="1689" y="845"/>
                </a:lnTo>
                <a:lnTo>
                  <a:pt x="1657" y="839"/>
                </a:lnTo>
                <a:lnTo>
                  <a:pt x="1628" y="831"/>
                </a:lnTo>
                <a:lnTo>
                  <a:pt x="1600" y="824"/>
                </a:lnTo>
                <a:lnTo>
                  <a:pt x="1572" y="817"/>
                </a:lnTo>
                <a:lnTo>
                  <a:pt x="1546" y="808"/>
                </a:lnTo>
                <a:lnTo>
                  <a:pt x="1523" y="798"/>
                </a:lnTo>
                <a:lnTo>
                  <a:pt x="1501" y="789"/>
                </a:lnTo>
                <a:lnTo>
                  <a:pt x="1459" y="768"/>
                </a:lnTo>
                <a:lnTo>
                  <a:pt x="1423" y="747"/>
                </a:lnTo>
                <a:lnTo>
                  <a:pt x="1392" y="727"/>
                </a:lnTo>
                <a:lnTo>
                  <a:pt x="1364" y="706"/>
                </a:lnTo>
                <a:lnTo>
                  <a:pt x="1319" y="671"/>
                </a:lnTo>
                <a:lnTo>
                  <a:pt x="1300" y="656"/>
                </a:lnTo>
                <a:lnTo>
                  <a:pt x="1284" y="646"/>
                </a:lnTo>
                <a:lnTo>
                  <a:pt x="1268" y="638"/>
                </a:lnTo>
                <a:lnTo>
                  <a:pt x="1262" y="637"/>
                </a:lnTo>
                <a:lnTo>
                  <a:pt x="1255" y="635"/>
                </a:lnTo>
                <a:lnTo>
                  <a:pt x="806" y="635"/>
                </a:lnTo>
                <a:lnTo>
                  <a:pt x="820" y="624"/>
                </a:lnTo>
                <a:lnTo>
                  <a:pt x="833" y="613"/>
                </a:lnTo>
                <a:lnTo>
                  <a:pt x="848" y="603"/>
                </a:lnTo>
                <a:lnTo>
                  <a:pt x="864" y="593"/>
                </a:lnTo>
                <a:lnTo>
                  <a:pt x="882" y="582"/>
                </a:lnTo>
                <a:lnTo>
                  <a:pt x="901" y="573"/>
                </a:lnTo>
                <a:lnTo>
                  <a:pt x="920" y="565"/>
                </a:lnTo>
                <a:lnTo>
                  <a:pt x="942" y="556"/>
                </a:lnTo>
                <a:lnTo>
                  <a:pt x="964" y="548"/>
                </a:lnTo>
                <a:lnTo>
                  <a:pt x="988" y="542"/>
                </a:lnTo>
                <a:lnTo>
                  <a:pt x="1011" y="537"/>
                </a:lnTo>
                <a:lnTo>
                  <a:pt x="1038" y="532"/>
                </a:lnTo>
                <a:lnTo>
                  <a:pt x="1064" y="528"/>
                </a:lnTo>
                <a:lnTo>
                  <a:pt x="1092" y="525"/>
                </a:lnTo>
                <a:lnTo>
                  <a:pt x="1120" y="523"/>
                </a:lnTo>
                <a:lnTo>
                  <a:pt x="1151" y="523"/>
                </a:lnTo>
                <a:close/>
                <a:moveTo>
                  <a:pt x="1583" y="1856"/>
                </a:moveTo>
                <a:lnTo>
                  <a:pt x="1583" y="2460"/>
                </a:lnTo>
                <a:lnTo>
                  <a:pt x="5664" y="2460"/>
                </a:lnTo>
                <a:lnTo>
                  <a:pt x="5664" y="1856"/>
                </a:lnTo>
                <a:lnTo>
                  <a:pt x="1583" y="1856"/>
                </a:lnTo>
                <a:close/>
                <a:moveTo>
                  <a:pt x="976" y="905"/>
                </a:moveTo>
                <a:lnTo>
                  <a:pt x="653" y="905"/>
                </a:lnTo>
                <a:lnTo>
                  <a:pt x="585" y="3119"/>
                </a:lnTo>
                <a:lnTo>
                  <a:pt x="1036" y="2938"/>
                </a:lnTo>
                <a:lnTo>
                  <a:pt x="976" y="905"/>
                </a:lnTo>
                <a:close/>
                <a:moveTo>
                  <a:pt x="719" y="2597"/>
                </a:moveTo>
                <a:lnTo>
                  <a:pt x="767" y="1023"/>
                </a:lnTo>
                <a:lnTo>
                  <a:pt x="861" y="1023"/>
                </a:lnTo>
                <a:lnTo>
                  <a:pt x="914" y="2794"/>
                </a:lnTo>
                <a:lnTo>
                  <a:pt x="719" y="2597"/>
                </a:lnTo>
                <a:close/>
                <a:moveTo>
                  <a:pt x="5239" y="3445"/>
                </a:moveTo>
                <a:lnTo>
                  <a:pt x="3771" y="3445"/>
                </a:lnTo>
                <a:lnTo>
                  <a:pt x="3771" y="3054"/>
                </a:lnTo>
                <a:lnTo>
                  <a:pt x="3770" y="3038"/>
                </a:lnTo>
                <a:lnTo>
                  <a:pt x="3764" y="3025"/>
                </a:lnTo>
                <a:lnTo>
                  <a:pt x="3761" y="3019"/>
                </a:lnTo>
                <a:lnTo>
                  <a:pt x="3756" y="3013"/>
                </a:lnTo>
                <a:lnTo>
                  <a:pt x="3752" y="3009"/>
                </a:lnTo>
                <a:lnTo>
                  <a:pt x="3747" y="3004"/>
                </a:lnTo>
                <a:lnTo>
                  <a:pt x="3742" y="3001"/>
                </a:lnTo>
                <a:lnTo>
                  <a:pt x="3734" y="2998"/>
                </a:lnTo>
                <a:lnTo>
                  <a:pt x="3728" y="2997"/>
                </a:lnTo>
                <a:lnTo>
                  <a:pt x="3719" y="2995"/>
                </a:lnTo>
                <a:lnTo>
                  <a:pt x="3712" y="2995"/>
                </a:lnTo>
                <a:lnTo>
                  <a:pt x="3703" y="2997"/>
                </a:lnTo>
                <a:lnTo>
                  <a:pt x="3694" y="2998"/>
                </a:lnTo>
                <a:lnTo>
                  <a:pt x="3686" y="3003"/>
                </a:lnTo>
                <a:lnTo>
                  <a:pt x="2680" y="3392"/>
                </a:lnTo>
                <a:lnTo>
                  <a:pt x="2680" y="3057"/>
                </a:lnTo>
                <a:lnTo>
                  <a:pt x="2679" y="3040"/>
                </a:lnTo>
                <a:lnTo>
                  <a:pt x="2677" y="3032"/>
                </a:lnTo>
                <a:lnTo>
                  <a:pt x="2674" y="3026"/>
                </a:lnTo>
                <a:lnTo>
                  <a:pt x="2671" y="3019"/>
                </a:lnTo>
                <a:lnTo>
                  <a:pt x="2667" y="3015"/>
                </a:lnTo>
                <a:lnTo>
                  <a:pt x="2662" y="3009"/>
                </a:lnTo>
                <a:lnTo>
                  <a:pt x="2657" y="3006"/>
                </a:lnTo>
                <a:lnTo>
                  <a:pt x="2651" y="3001"/>
                </a:lnTo>
                <a:lnTo>
                  <a:pt x="2645" y="3000"/>
                </a:lnTo>
                <a:lnTo>
                  <a:pt x="2639" y="2997"/>
                </a:lnTo>
                <a:lnTo>
                  <a:pt x="2632" y="2997"/>
                </a:lnTo>
                <a:lnTo>
                  <a:pt x="2624" y="2997"/>
                </a:lnTo>
                <a:lnTo>
                  <a:pt x="2617" y="2997"/>
                </a:lnTo>
                <a:lnTo>
                  <a:pt x="2601" y="3003"/>
                </a:lnTo>
                <a:lnTo>
                  <a:pt x="2033" y="3223"/>
                </a:lnTo>
                <a:lnTo>
                  <a:pt x="2033" y="2578"/>
                </a:lnTo>
                <a:lnTo>
                  <a:pt x="1797" y="2578"/>
                </a:lnTo>
                <a:lnTo>
                  <a:pt x="1797" y="3314"/>
                </a:lnTo>
                <a:lnTo>
                  <a:pt x="1595" y="3392"/>
                </a:lnTo>
                <a:lnTo>
                  <a:pt x="1595" y="3057"/>
                </a:lnTo>
                <a:lnTo>
                  <a:pt x="1594" y="3040"/>
                </a:lnTo>
                <a:lnTo>
                  <a:pt x="1591" y="3032"/>
                </a:lnTo>
                <a:lnTo>
                  <a:pt x="1588" y="3025"/>
                </a:lnTo>
                <a:lnTo>
                  <a:pt x="1585" y="3019"/>
                </a:lnTo>
                <a:lnTo>
                  <a:pt x="1580" y="3013"/>
                </a:lnTo>
                <a:lnTo>
                  <a:pt x="1576" y="3009"/>
                </a:lnTo>
                <a:lnTo>
                  <a:pt x="1572" y="3004"/>
                </a:lnTo>
                <a:lnTo>
                  <a:pt x="1566" y="3001"/>
                </a:lnTo>
                <a:lnTo>
                  <a:pt x="1560" y="2998"/>
                </a:lnTo>
                <a:lnTo>
                  <a:pt x="1552" y="2997"/>
                </a:lnTo>
                <a:lnTo>
                  <a:pt x="1545" y="2997"/>
                </a:lnTo>
                <a:lnTo>
                  <a:pt x="1538" y="2997"/>
                </a:lnTo>
                <a:lnTo>
                  <a:pt x="1530" y="2997"/>
                </a:lnTo>
                <a:lnTo>
                  <a:pt x="1514" y="3003"/>
                </a:lnTo>
                <a:lnTo>
                  <a:pt x="445" y="3429"/>
                </a:lnTo>
                <a:lnTo>
                  <a:pt x="0" y="3429"/>
                </a:lnTo>
                <a:lnTo>
                  <a:pt x="0" y="4763"/>
                </a:lnTo>
                <a:lnTo>
                  <a:pt x="5475" y="4763"/>
                </a:lnTo>
                <a:lnTo>
                  <a:pt x="5475" y="2578"/>
                </a:lnTo>
                <a:lnTo>
                  <a:pt x="5239" y="2578"/>
                </a:lnTo>
                <a:lnTo>
                  <a:pt x="5239" y="3445"/>
                </a:lnTo>
                <a:close/>
                <a:moveTo>
                  <a:pt x="5239" y="4527"/>
                </a:moveTo>
                <a:lnTo>
                  <a:pt x="236" y="4527"/>
                </a:lnTo>
                <a:lnTo>
                  <a:pt x="234" y="3560"/>
                </a:lnTo>
                <a:lnTo>
                  <a:pt x="435" y="3560"/>
                </a:lnTo>
                <a:lnTo>
                  <a:pt x="1477" y="3144"/>
                </a:lnTo>
                <a:lnTo>
                  <a:pt x="1477" y="3478"/>
                </a:lnTo>
                <a:lnTo>
                  <a:pt x="1479" y="3495"/>
                </a:lnTo>
                <a:lnTo>
                  <a:pt x="1480" y="3503"/>
                </a:lnTo>
                <a:lnTo>
                  <a:pt x="1483" y="3508"/>
                </a:lnTo>
                <a:lnTo>
                  <a:pt x="1486" y="3516"/>
                </a:lnTo>
                <a:lnTo>
                  <a:pt x="1490" y="3520"/>
                </a:lnTo>
                <a:lnTo>
                  <a:pt x="1495" y="3526"/>
                </a:lnTo>
                <a:lnTo>
                  <a:pt x="1501" y="3531"/>
                </a:lnTo>
                <a:lnTo>
                  <a:pt x="1505" y="3534"/>
                </a:lnTo>
                <a:lnTo>
                  <a:pt x="1513" y="3537"/>
                </a:lnTo>
                <a:lnTo>
                  <a:pt x="1518" y="3538"/>
                </a:lnTo>
                <a:lnTo>
                  <a:pt x="1526" y="3538"/>
                </a:lnTo>
                <a:lnTo>
                  <a:pt x="1533" y="3538"/>
                </a:lnTo>
                <a:lnTo>
                  <a:pt x="1541" y="3538"/>
                </a:lnTo>
                <a:lnTo>
                  <a:pt x="1557" y="3534"/>
                </a:lnTo>
                <a:lnTo>
                  <a:pt x="2562" y="3143"/>
                </a:lnTo>
                <a:lnTo>
                  <a:pt x="2562" y="3478"/>
                </a:lnTo>
                <a:lnTo>
                  <a:pt x="2564" y="3495"/>
                </a:lnTo>
                <a:lnTo>
                  <a:pt x="2565" y="3503"/>
                </a:lnTo>
                <a:lnTo>
                  <a:pt x="2568" y="3508"/>
                </a:lnTo>
                <a:lnTo>
                  <a:pt x="2573" y="3516"/>
                </a:lnTo>
                <a:lnTo>
                  <a:pt x="2575" y="3520"/>
                </a:lnTo>
                <a:lnTo>
                  <a:pt x="2580" y="3526"/>
                </a:lnTo>
                <a:lnTo>
                  <a:pt x="2586" y="3531"/>
                </a:lnTo>
                <a:lnTo>
                  <a:pt x="2592" y="3534"/>
                </a:lnTo>
                <a:lnTo>
                  <a:pt x="2598" y="3537"/>
                </a:lnTo>
                <a:lnTo>
                  <a:pt x="2603" y="3538"/>
                </a:lnTo>
                <a:lnTo>
                  <a:pt x="2611" y="3538"/>
                </a:lnTo>
                <a:lnTo>
                  <a:pt x="2618" y="3538"/>
                </a:lnTo>
                <a:lnTo>
                  <a:pt x="2626" y="3538"/>
                </a:lnTo>
                <a:lnTo>
                  <a:pt x="2643" y="3534"/>
                </a:lnTo>
                <a:lnTo>
                  <a:pt x="3649" y="3143"/>
                </a:lnTo>
                <a:lnTo>
                  <a:pt x="3644" y="3489"/>
                </a:lnTo>
                <a:lnTo>
                  <a:pt x="3646" y="3503"/>
                </a:lnTo>
                <a:lnTo>
                  <a:pt x="3649" y="3517"/>
                </a:lnTo>
                <a:lnTo>
                  <a:pt x="3655" y="3529"/>
                </a:lnTo>
                <a:lnTo>
                  <a:pt x="3662" y="3541"/>
                </a:lnTo>
                <a:lnTo>
                  <a:pt x="3672" y="3550"/>
                </a:lnTo>
                <a:lnTo>
                  <a:pt x="3684" y="3557"/>
                </a:lnTo>
                <a:lnTo>
                  <a:pt x="3697" y="3562"/>
                </a:lnTo>
                <a:lnTo>
                  <a:pt x="3712" y="3563"/>
                </a:lnTo>
                <a:lnTo>
                  <a:pt x="5239" y="3563"/>
                </a:lnTo>
                <a:lnTo>
                  <a:pt x="5239" y="4527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622339" y="2403128"/>
            <a:ext cx="1003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mployer</a:t>
            </a:r>
          </a:p>
        </p:txBody>
      </p:sp>
      <p:pic>
        <p:nvPicPr>
          <p:cNvPr id="1715212" name="Picture 12" descr="https://image.freepik.com/free-icon/man-in-office-desk-with-computer_318-2980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573871" y="1572995"/>
            <a:ext cx="882092" cy="882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5" name="Elbow Connector 44"/>
          <p:cNvCxnSpPr>
            <a:endCxn id="22" idx="1"/>
          </p:cNvCxnSpPr>
          <p:nvPr/>
        </p:nvCxnSpPr>
        <p:spPr>
          <a:xfrm>
            <a:off x="1928580" y="2148541"/>
            <a:ext cx="2438247" cy="403346"/>
          </a:xfrm>
          <a:prstGeom prst="bentConnector3">
            <a:avLst/>
          </a:prstGeom>
          <a:ln w="1905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4" name="Group 83"/>
          <p:cNvGrpSpPr/>
          <p:nvPr/>
        </p:nvGrpSpPr>
        <p:grpSpPr>
          <a:xfrm>
            <a:off x="2755849" y="1743887"/>
            <a:ext cx="828961" cy="1163346"/>
            <a:chOff x="2755849" y="1799642"/>
            <a:chExt cx="828961" cy="1163346"/>
          </a:xfrm>
        </p:grpSpPr>
        <p:sp>
          <p:nvSpPr>
            <p:cNvPr id="46" name="Rectangle 45"/>
            <p:cNvSpPr/>
            <p:nvPr/>
          </p:nvSpPr>
          <p:spPr>
            <a:xfrm>
              <a:off x="2933996" y="1799642"/>
              <a:ext cx="492593" cy="1012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2755849" y="1988266"/>
              <a:ext cx="828961" cy="974722"/>
              <a:chOff x="2145225" y="2314759"/>
              <a:chExt cx="828961" cy="974722"/>
            </a:xfrm>
          </p:grpSpPr>
          <p:sp>
            <p:nvSpPr>
              <p:cNvPr id="21" name="TextBox 20"/>
              <p:cNvSpPr txBox="1"/>
              <p:nvPr/>
            </p:nvSpPr>
            <p:spPr>
              <a:xfrm>
                <a:off x="2145225" y="2858594"/>
                <a:ext cx="828961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t-IT" sz="1100" i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Income statement</a:t>
                </a:r>
              </a:p>
            </p:txBody>
          </p:sp>
          <p:sp>
            <p:nvSpPr>
              <p:cNvPr id="83" name="Freeform 83"/>
              <p:cNvSpPr>
                <a:spLocks noChangeAspect="1" noEditPoints="1"/>
              </p:cNvSpPr>
              <p:nvPr/>
            </p:nvSpPr>
            <p:spPr bwMode="auto">
              <a:xfrm>
                <a:off x="2382233" y="2314759"/>
                <a:ext cx="381030" cy="576000"/>
              </a:xfrm>
              <a:custGeom>
                <a:avLst/>
                <a:gdLst>
                  <a:gd name="T0" fmla="*/ 2147483647 w 3154"/>
                  <a:gd name="T1" fmla="*/ 2147483647 h 4763"/>
                  <a:gd name="T2" fmla="*/ 2147483647 w 3154"/>
                  <a:gd name="T3" fmla="*/ 2147483647 h 4763"/>
                  <a:gd name="T4" fmla="*/ 2147483647 w 3154"/>
                  <a:gd name="T5" fmla="*/ 2147483647 h 4763"/>
                  <a:gd name="T6" fmla="*/ 2147483647 w 3154"/>
                  <a:gd name="T7" fmla="*/ 2147483647 h 4763"/>
                  <a:gd name="T8" fmla="*/ 2147483647 w 3154"/>
                  <a:gd name="T9" fmla="*/ 2147483647 h 4763"/>
                  <a:gd name="T10" fmla="*/ 2147483647 w 3154"/>
                  <a:gd name="T11" fmla="*/ 2147483647 h 4763"/>
                  <a:gd name="T12" fmla="*/ 2147483647 w 3154"/>
                  <a:gd name="T13" fmla="*/ 2147483647 h 4763"/>
                  <a:gd name="T14" fmla="*/ 2147483647 w 3154"/>
                  <a:gd name="T15" fmla="*/ 2147483647 h 4763"/>
                  <a:gd name="T16" fmla="*/ 2147483647 w 3154"/>
                  <a:gd name="T17" fmla="*/ 2147483647 h 4763"/>
                  <a:gd name="T18" fmla="*/ 2147483647 w 3154"/>
                  <a:gd name="T19" fmla="*/ 2147483647 h 4763"/>
                  <a:gd name="T20" fmla="*/ 2147483647 w 3154"/>
                  <a:gd name="T21" fmla="*/ 2147483647 h 4763"/>
                  <a:gd name="T22" fmla="*/ 2147483647 w 3154"/>
                  <a:gd name="T23" fmla="*/ 2147483647 h 4763"/>
                  <a:gd name="T24" fmla="*/ 2147483647 w 3154"/>
                  <a:gd name="T25" fmla="*/ 2147483647 h 4763"/>
                  <a:gd name="T26" fmla="*/ 2147483647 w 3154"/>
                  <a:gd name="T27" fmla="*/ 2147483647 h 4763"/>
                  <a:gd name="T28" fmla="*/ 2147483647 w 3154"/>
                  <a:gd name="T29" fmla="*/ 2147483647 h 4763"/>
                  <a:gd name="T30" fmla="*/ 2147483647 w 3154"/>
                  <a:gd name="T31" fmla="*/ 2147483647 h 4763"/>
                  <a:gd name="T32" fmla="*/ 2147483647 w 3154"/>
                  <a:gd name="T33" fmla="*/ 2147483647 h 4763"/>
                  <a:gd name="T34" fmla="*/ 2147483647 w 3154"/>
                  <a:gd name="T35" fmla="*/ 2147483647 h 4763"/>
                  <a:gd name="T36" fmla="*/ 2147483647 w 3154"/>
                  <a:gd name="T37" fmla="*/ 2147483647 h 4763"/>
                  <a:gd name="T38" fmla="*/ 2147483647 w 3154"/>
                  <a:gd name="T39" fmla="*/ 2147483647 h 4763"/>
                  <a:gd name="T40" fmla="*/ 2147483647 w 3154"/>
                  <a:gd name="T41" fmla="*/ 2147483647 h 4763"/>
                  <a:gd name="T42" fmla="*/ 2147483647 w 3154"/>
                  <a:gd name="T43" fmla="*/ 2147483647 h 4763"/>
                  <a:gd name="T44" fmla="*/ 2147483647 w 3154"/>
                  <a:gd name="T45" fmla="*/ 2147483647 h 4763"/>
                  <a:gd name="T46" fmla="*/ 2147483647 w 3154"/>
                  <a:gd name="T47" fmla="*/ 2147483647 h 4763"/>
                  <a:gd name="T48" fmla="*/ 2147483647 w 3154"/>
                  <a:gd name="T49" fmla="*/ 2147483647 h 4763"/>
                  <a:gd name="T50" fmla="*/ 2147483647 w 3154"/>
                  <a:gd name="T51" fmla="*/ 2147483647 h 4763"/>
                  <a:gd name="T52" fmla="*/ 2147483647 w 3154"/>
                  <a:gd name="T53" fmla="*/ 2147483647 h 4763"/>
                  <a:gd name="T54" fmla="*/ 2147483647 w 3154"/>
                  <a:gd name="T55" fmla="*/ 2147483647 h 4763"/>
                  <a:gd name="T56" fmla="*/ 2147483647 w 3154"/>
                  <a:gd name="T57" fmla="*/ 2147483647 h 4763"/>
                  <a:gd name="T58" fmla="*/ 2147483647 w 3154"/>
                  <a:gd name="T59" fmla="*/ 2147483647 h 4763"/>
                  <a:gd name="T60" fmla="*/ 2147483647 w 3154"/>
                  <a:gd name="T61" fmla="*/ 2147483647 h 4763"/>
                  <a:gd name="T62" fmla="*/ 2147483647 w 3154"/>
                  <a:gd name="T63" fmla="*/ 2147483647 h 4763"/>
                  <a:gd name="T64" fmla="*/ 2147483647 w 3154"/>
                  <a:gd name="T65" fmla="*/ 2147483647 h 4763"/>
                  <a:gd name="T66" fmla="*/ 2147483647 w 3154"/>
                  <a:gd name="T67" fmla="*/ 2147483647 h 4763"/>
                  <a:gd name="T68" fmla="*/ 2147483647 w 3154"/>
                  <a:gd name="T69" fmla="*/ 2147483647 h 4763"/>
                  <a:gd name="T70" fmla="*/ 2147483647 w 3154"/>
                  <a:gd name="T71" fmla="*/ 2147483647 h 4763"/>
                  <a:gd name="T72" fmla="*/ 2147483647 w 3154"/>
                  <a:gd name="T73" fmla="*/ 2147483647 h 4763"/>
                  <a:gd name="T74" fmla="*/ 2147483647 w 3154"/>
                  <a:gd name="T75" fmla="*/ 2147483647 h 4763"/>
                  <a:gd name="T76" fmla="*/ 2147483647 w 3154"/>
                  <a:gd name="T77" fmla="*/ 2147483647 h 4763"/>
                  <a:gd name="T78" fmla="*/ 2147483647 w 3154"/>
                  <a:gd name="T79" fmla="*/ 2147483647 h 4763"/>
                  <a:gd name="T80" fmla="*/ 2147483647 w 3154"/>
                  <a:gd name="T81" fmla="*/ 2147483647 h 4763"/>
                  <a:gd name="T82" fmla="*/ 2147483647 w 3154"/>
                  <a:gd name="T83" fmla="*/ 2147483647 h 4763"/>
                  <a:gd name="T84" fmla="*/ 2147483647 w 3154"/>
                  <a:gd name="T85" fmla="*/ 2147483647 h 4763"/>
                  <a:gd name="T86" fmla="*/ 2147483647 w 3154"/>
                  <a:gd name="T87" fmla="*/ 2147483647 h 4763"/>
                  <a:gd name="T88" fmla="*/ 2147483647 w 3154"/>
                  <a:gd name="T89" fmla="*/ 2147483647 h 4763"/>
                  <a:gd name="T90" fmla="*/ 2147483647 w 3154"/>
                  <a:gd name="T91" fmla="*/ 2147483647 h 4763"/>
                  <a:gd name="T92" fmla="*/ 2147483647 w 3154"/>
                  <a:gd name="T93" fmla="*/ 2147483647 h 4763"/>
                  <a:gd name="T94" fmla="*/ 2147483647 w 3154"/>
                  <a:gd name="T95" fmla="*/ 2147483647 h 4763"/>
                  <a:gd name="T96" fmla="*/ 2147483647 w 3154"/>
                  <a:gd name="T97" fmla="*/ 2147483647 h 4763"/>
                  <a:gd name="T98" fmla="*/ 2147483647 w 3154"/>
                  <a:gd name="T99" fmla="*/ 2147483647 h 4763"/>
                  <a:gd name="T100" fmla="*/ 2147483647 w 3154"/>
                  <a:gd name="T101" fmla="*/ 2147483647 h 4763"/>
                  <a:gd name="T102" fmla="*/ 2147483647 w 3154"/>
                  <a:gd name="T103" fmla="*/ 2147483647 h 4763"/>
                  <a:gd name="T104" fmla="*/ 2147483647 w 3154"/>
                  <a:gd name="T105" fmla="*/ 2147483647 h 4763"/>
                  <a:gd name="T106" fmla="*/ 2147483647 w 3154"/>
                  <a:gd name="T107" fmla="*/ 2147483647 h 4763"/>
                  <a:gd name="T108" fmla="*/ 2147483647 w 3154"/>
                  <a:gd name="T109" fmla="*/ 2147483647 h 4763"/>
                  <a:gd name="T110" fmla="*/ 2147483647 w 3154"/>
                  <a:gd name="T111" fmla="*/ 2147483647 h 4763"/>
                  <a:gd name="T112" fmla="*/ 2147483647 w 3154"/>
                  <a:gd name="T113" fmla="*/ 2147483647 h 4763"/>
                  <a:gd name="T114" fmla="*/ 2147483647 w 3154"/>
                  <a:gd name="T115" fmla="*/ 2147483647 h 4763"/>
                  <a:gd name="T116" fmla="*/ 2147483647 w 3154"/>
                  <a:gd name="T117" fmla="*/ 2147483647 h 4763"/>
                  <a:gd name="T118" fmla="*/ 2147483647 w 3154"/>
                  <a:gd name="T119" fmla="*/ 2147483647 h 4763"/>
                  <a:gd name="T120" fmla="*/ 2147483647 w 3154"/>
                  <a:gd name="T121" fmla="*/ 2147483647 h 4763"/>
                  <a:gd name="T122" fmla="*/ 2147483647 w 3154"/>
                  <a:gd name="T123" fmla="*/ 2147483647 h 4763"/>
                  <a:gd name="T124" fmla="*/ 2147483647 w 3154"/>
                  <a:gd name="T125" fmla="*/ 2147483647 h 476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154"/>
                  <a:gd name="T190" fmla="*/ 0 h 4763"/>
                  <a:gd name="T191" fmla="*/ 3154 w 3154"/>
                  <a:gd name="T192" fmla="*/ 4763 h 476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154" h="4763">
                    <a:moveTo>
                      <a:pt x="2909" y="830"/>
                    </a:moveTo>
                    <a:lnTo>
                      <a:pt x="2331" y="250"/>
                    </a:lnTo>
                    <a:lnTo>
                      <a:pt x="2331" y="830"/>
                    </a:lnTo>
                    <a:lnTo>
                      <a:pt x="2909" y="830"/>
                    </a:lnTo>
                    <a:close/>
                    <a:moveTo>
                      <a:pt x="1700" y="4384"/>
                    </a:moveTo>
                    <a:lnTo>
                      <a:pt x="0" y="4384"/>
                    </a:lnTo>
                    <a:lnTo>
                      <a:pt x="0" y="0"/>
                    </a:lnTo>
                    <a:lnTo>
                      <a:pt x="2332" y="0"/>
                    </a:lnTo>
                    <a:lnTo>
                      <a:pt x="3154" y="823"/>
                    </a:lnTo>
                    <a:lnTo>
                      <a:pt x="3154" y="1008"/>
                    </a:lnTo>
                    <a:lnTo>
                      <a:pt x="3153" y="4384"/>
                    </a:lnTo>
                    <a:lnTo>
                      <a:pt x="2442" y="4384"/>
                    </a:lnTo>
                    <a:lnTo>
                      <a:pt x="2442" y="4763"/>
                    </a:lnTo>
                    <a:lnTo>
                      <a:pt x="2072" y="4565"/>
                    </a:lnTo>
                    <a:lnTo>
                      <a:pt x="1700" y="4763"/>
                    </a:lnTo>
                    <a:lnTo>
                      <a:pt x="1700" y="4384"/>
                    </a:lnTo>
                    <a:close/>
                    <a:moveTo>
                      <a:pt x="2072" y="3251"/>
                    </a:moveTo>
                    <a:lnTo>
                      <a:pt x="2072" y="3251"/>
                    </a:lnTo>
                    <a:lnTo>
                      <a:pt x="2096" y="3252"/>
                    </a:lnTo>
                    <a:lnTo>
                      <a:pt x="2120" y="3254"/>
                    </a:lnTo>
                    <a:lnTo>
                      <a:pt x="2144" y="3256"/>
                    </a:lnTo>
                    <a:lnTo>
                      <a:pt x="2168" y="3261"/>
                    </a:lnTo>
                    <a:lnTo>
                      <a:pt x="2190" y="3266"/>
                    </a:lnTo>
                    <a:lnTo>
                      <a:pt x="2212" y="3272"/>
                    </a:lnTo>
                    <a:lnTo>
                      <a:pt x="2234" y="3279"/>
                    </a:lnTo>
                    <a:lnTo>
                      <a:pt x="2255" y="3288"/>
                    </a:lnTo>
                    <a:lnTo>
                      <a:pt x="2277" y="3297"/>
                    </a:lnTo>
                    <a:lnTo>
                      <a:pt x="2298" y="3308"/>
                    </a:lnTo>
                    <a:lnTo>
                      <a:pt x="2317" y="3320"/>
                    </a:lnTo>
                    <a:lnTo>
                      <a:pt x="2337" y="3332"/>
                    </a:lnTo>
                    <a:lnTo>
                      <a:pt x="2354" y="3345"/>
                    </a:lnTo>
                    <a:lnTo>
                      <a:pt x="2372" y="3358"/>
                    </a:lnTo>
                    <a:lnTo>
                      <a:pt x="2390" y="3374"/>
                    </a:lnTo>
                    <a:lnTo>
                      <a:pt x="2407" y="3390"/>
                    </a:lnTo>
                    <a:lnTo>
                      <a:pt x="2422" y="3406"/>
                    </a:lnTo>
                    <a:lnTo>
                      <a:pt x="2437" y="3423"/>
                    </a:lnTo>
                    <a:lnTo>
                      <a:pt x="2451" y="3441"/>
                    </a:lnTo>
                    <a:lnTo>
                      <a:pt x="2464" y="3460"/>
                    </a:lnTo>
                    <a:lnTo>
                      <a:pt x="2477" y="3479"/>
                    </a:lnTo>
                    <a:lnTo>
                      <a:pt x="2488" y="3499"/>
                    </a:lnTo>
                    <a:lnTo>
                      <a:pt x="2498" y="3519"/>
                    </a:lnTo>
                    <a:lnTo>
                      <a:pt x="2508" y="3540"/>
                    </a:lnTo>
                    <a:lnTo>
                      <a:pt x="2516" y="3562"/>
                    </a:lnTo>
                    <a:lnTo>
                      <a:pt x="2523" y="3583"/>
                    </a:lnTo>
                    <a:lnTo>
                      <a:pt x="2530" y="3605"/>
                    </a:lnTo>
                    <a:lnTo>
                      <a:pt x="2536" y="3629"/>
                    </a:lnTo>
                    <a:lnTo>
                      <a:pt x="2539" y="3652"/>
                    </a:lnTo>
                    <a:lnTo>
                      <a:pt x="2542" y="3675"/>
                    </a:lnTo>
                    <a:lnTo>
                      <a:pt x="2545" y="3700"/>
                    </a:lnTo>
                    <a:lnTo>
                      <a:pt x="2545" y="3724"/>
                    </a:lnTo>
                    <a:lnTo>
                      <a:pt x="2545" y="3744"/>
                    </a:lnTo>
                    <a:lnTo>
                      <a:pt x="2543" y="3765"/>
                    </a:lnTo>
                    <a:lnTo>
                      <a:pt x="2541" y="3785"/>
                    </a:lnTo>
                    <a:lnTo>
                      <a:pt x="2538" y="3806"/>
                    </a:lnTo>
                    <a:lnTo>
                      <a:pt x="2535" y="3826"/>
                    </a:lnTo>
                    <a:lnTo>
                      <a:pt x="2529" y="3844"/>
                    </a:lnTo>
                    <a:lnTo>
                      <a:pt x="2523" y="3863"/>
                    </a:lnTo>
                    <a:lnTo>
                      <a:pt x="2518" y="3882"/>
                    </a:lnTo>
                    <a:lnTo>
                      <a:pt x="2511" y="3901"/>
                    </a:lnTo>
                    <a:lnTo>
                      <a:pt x="2503" y="3919"/>
                    </a:lnTo>
                    <a:lnTo>
                      <a:pt x="2495" y="3937"/>
                    </a:lnTo>
                    <a:lnTo>
                      <a:pt x="2486" y="3953"/>
                    </a:lnTo>
                    <a:lnTo>
                      <a:pt x="2476" y="3970"/>
                    </a:lnTo>
                    <a:lnTo>
                      <a:pt x="2466" y="3987"/>
                    </a:lnTo>
                    <a:lnTo>
                      <a:pt x="2454" y="4002"/>
                    </a:lnTo>
                    <a:lnTo>
                      <a:pt x="2442" y="4018"/>
                    </a:lnTo>
                    <a:lnTo>
                      <a:pt x="2442" y="4206"/>
                    </a:lnTo>
                    <a:lnTo>
                      <a:pt x="2975" y="4206"/>
                    </a:lnTo>
                    <a:lnTo>
                      <a:pt x="2976" y="1008"/>
                    </a:lnTo>
                    <a:lnTo>
                      <a:pt x="2756" y="1008"/>
                    </a:lnTo>
                    <a:lnTo>
                      <a:pt x="2765" y="1014"/>
                    </a:lnTo>
                    <a:lnTo>
                      <a:pt x="2771" y="1022"/>
                    </a:lnTo>
                    <a:lnTo>
                      <a:pt x="2778" y="1031"/>
                    </a:lnTo>
                    <a:lnTo>
                      <a:pt x="2784" y="1040"/>
                    </a:lnTo>
                    <a:lnTo>
                      <a:pt x="2788" y="1050"/>
                    </a:lnTo>
                    <a:lnTo>
                      <a:pt x="2791" y="1061"/>
                    </a:lnTo>
                    <a:lnTo>
                      <a:pt x="2794" y="1072"/>
                    </a:lnTo>
                    <a:lnTo>
                      <a:pt x="2794" y="1083"/>
                    </a:lnTo>
                    <a:lnTo>
                      <a:pt x="2794" y="1093"/>
                    </a:lnTo>
                    <a:lnTo>
                      <a:pt x="2793" y="1102"/>
                    </a:lnTo>
                    <a:lnTo>
                      <a:pt x="2790" y="1111"/>
                    </a:lnTo>
                    <a:lnTo>
                      <a:pt x="2787" y="1120"/>
                    </a:lnTo>
                    <a:lnTo>
                      <a:pt x="2783" y="1128"/>
                    </a:lnTo>
                    <a:lnTo>
                      <a:pt x="2778" y="1135"/>
                    </a:lnTo>
                    <a:lnTo>
                      <a:pt x="2773" y="1143"/>
                    </a:lnTo>
                    <a:lnTo>
                      <a:pt x="2767" y="1150"/>
                    </a:lnTo>
                    <a:lnTo>
                      <a:pt x="2759" y="1157"/>
                    </a:lnTo>
                    <a:lnTo>
                      <a:pt x="2753" y="1161"/>
                    </a:lnTo>
                    <a:lnTo>
                      <a:pt x="2745" y="1167"/>
                    </a:lnTo>
                    <a:lnTo>
                      <a:pt x="2736" y="1170"/>
                    </a:lnTo>
                    <a:lnTo>
                      <a:pt x="2728" y="1173"/>
                    </a:lnTo>
                    <a:lnTo>
                      <a:pt x="2719" y="1175"/>
                    </a:lnTo>
                    <a:lnTo>
                      <a:pt x="2709" y="1177"/>
                    </a:lnTo>
                    <a:lnTo>
                      <a:pt x="2699" y="1178"/>
                    </a:lnTo>
                    <a:lnTo>
                      <a:pt x="2690" y="1177"/>
                    </a:lnTo>
                    <a:lnTo>
                      <a:pt x="2680" y="1175"/>
                    </a:lnTo>
                    <a:lnTo>
                      <a:pt x="2671" y="1173"/>
                    </a:lnTo>
                    <a:lnTo>
                      <a:pt x="2662" y="1170"/>
                    </a:lnTo>
                    <a:lnTo>
                      <a:pt x="2655" y="1167"/>
                    </a:lnTo>
                    <a:lnTo>
                      <a:pt x="2647" y="1161"/>
                    </a:lnTo>
                    <a:lnTo>
                      <a:pt x="2639" y="1157"/>
                    </a:lnTo>
                    <a:lnTo>
                      <a:pt x="2632" y="1150"/>
                    </a:lnTo>
                    <a:lnTo>
                      <a:pt x="2627" y="1143"/>
                    </a:lnTo>
                    <a:lnTo>
                      <a:pt x="2621" y="1135"/>
                    </a:lnTo>
                    <a:lnTo>
                      <a:pt x="2617" y="1128"/>
                    </a:lnTo>
                    <a:lnTo>
                      <a:pt x="2612" y="1120"/>
                    </a:lnTo>
                    <a:lnTo>
                      <a:pt x="2609" y="1111"/>
                    </a:lnTo>
                    <a:lnTo>
                      <a:pt x="2607" y="1102"/>
                    </a:lnTo>
                    <a:lnTo>
                      <a:pt x="2606" y="1093"/>
                    </a:lnTo>
                    <a:lnTo>
                      <a:pt x="2605" y="1083"/>
                    </a:lnTo>
                    <a:lnTo>
                      <a:pt x="2606" y="1072"/>
                    </a:lnTo>
                    <a:lnTo>
                      <a:pt x="2608" y="1061"/>
                    </a:lnTo>
                    <a:lnTo>
                      <a:pt x="2611" y="1050"/>
                    </a:lnTo>
                    <a:lnTo>
                      <a:pt x="2616" y="1040"/>
                    </a:lnTo>
                    <a:lnTo>
                      <a:pt x="2621" y="1031"/>
                    </a:lnTo>
                    <a:lnTo>
                      <a:pt x="2627" y="1022"/>
                    </a:lnTo>
                    <a:lnTo>
                      <a:pt x="2635" y="1014"/>
                    </a:lnTo>
                    <a:lnTo>
                      <a:pt x="2644" y="1008"/>
                    </a:lnTo>
                    <a:lnTo>
                      <a:pt x="2153" y="1008"/>
                    </a:lnTo>
                    <a:lnTo>
                      <a:pt x="2153" y="178"/>
                    </a:lnTo>
                    <a:lnTo>
                      <a:pt x="178" y="178"/>
                    </a:lnTo>
                    <a:lnTo>
                      <a:pt x="178" y="4206"/>
                    </a:lnTo>
                    <a:lnTo>
                      <a:pt x="1700" y="4206"/>
                    </a:lnTo>
                    <a:lnTo>
                      <a:pt x="1700" y="4018"/>
                    </a:lnTo>
                    <a:lnTo>
                      <a:pt x="1689" y="4002"/>
                    </a:lnTo>
                    <a:lnTo>
                      <a:pt x="1678" y="3987"/>
                    </a:lnTo>
                    <a:lnTo>
                      <a:pt x="1667" y="3970"/>
                    </a:lnTo>
                    <a:lnTo>
                      <a:pt x="1657" y="3953"/>
                    </a:lnTo>
                    <a:lnTo>
                      <a:pt x="1648" y="3937"/>
                    </a:lnTo>
                    <a:lnTo>
                      <a:pt x="1640" y="3919"/>
                    </a:lnTo>
                    <a:lnTo>
                      <a:pt x="1633" y="3901"/>
                    </a:lnTo>
                    <a:lnTo>
                      <a:pt x="1626" y="3882"/>
                    </a:lnTo>
                    <a:lnTo>
                      <a:pt x="1619" y="3863"/>
                    </a:lnTo>
                    <a:lnTo>
                      <a:pt x="1614" y="3844"/>
                    </a:lnTo>
                    <a:lnTo>
                      <a:pt x="1609" y="3826"/>
                    </a:lnTo>
                    <a:lnTo>
                      <a:pt x="1606" y="3806"/>
                    </a:lnTo>
                    <a:lnTo>
                      <a:pt x="1603" y="3785"/>
                    </a:lnTo>
                    <a:lnTo>
                      <a:pt x="1600" y="3765"/>
                    </a:lnTo>
                    <a:lnTo>
                      <a:pt x="1599" y="3744"/>
                    </a:lnTo>
                    <a:lnTo>
                      <a:pt x="1598" y="3724"/>
                    </a:lnTo>
                    <a:lnTo>
                      <a:pt x="1599" y="3700"/>
                    </a:lnTo>
                    <a:lnTo>
                      <a:pt x="1600" y="3675"/>
                    </a:lnTo>
                    <a:lnTo>
                      <a:pt x="1604" y="3652"/>
                    </a:lnTo>
                    <a:lnTo>
                      <a:pt x="1608" y="3629"/>
                    </a:lnTo>
                    <a:lnTo>
                      <a:pt x="1614" y="3605"/>
                    </a:lnTo>
                    <a:lnTo>
                      <a:pt x="1619" y="3583"/>
                    </a:lnTo>
                    <a:lnTo>
                      <a:pt x="1627" y="3562"/>
                    </a:lnTo>
                    <a:lnTo>
                      <a:pt x="1636" y="3540"/>
                    </a:lnTo>
                    <a:lnTo>
                      <a:pt x="1645" y="3519"/>
                    </a:lnTo>
                    <a:lnTo>
                      <a:pt x="1656" y="3499"/>
                    </a:lnTo>
                    <a:lnTo>
                      <a:pt x="1667" y="3479"/>
                    </a:lnTo>
                    <a:lnTo>
                      <a:pt x="1679" y="3460"/>
                    </a:lnTo>
                    <a:lnTo>
                      <a:pt x="1693" y="3441"/>
                    </a:lnTo>
                    <a:lnTo>
                      <a:pt x="1706" y="3423"/>
                    </a:lnTo>
                    <a:lnTo>
                      <a:pt x="1722" y="3406"/>
                    </a:lnTo>
                    <a:lnTo>
                      <a:pt x="1737" y="3390"/>
                    </a:lnTo>
                    <a:lnTo>
                      <a:pt x="1754" y="3374"/>
                    </a:lnTo>
                    <a:lnTo>
                      <a:pt x="1771" y="3358"/>
                    </a:lnTo>
                    <a:lnTo>
                      <a:pt x="1788" y="3345"/>
                    </a:lnTo>
                    <a:lnTo>
                      <a:pt x="1807" y="3332"/>
                    </a:lnTo>
                    <a:lnTo>
                      <a:pt x="1826" y="3320"/>
                    </a:lnTo>
                    <a:lnTo>
                      <a:pt x="1846" y="3308"/>
                    </a:lnTo>
                    <a:lnTo>
                      <a:pt x="1866" y="3297"/>
                    </a:lnTo>
                    <a:lnTo>
                      <a:pt x="1887" y="3288"/>
                    </a:lnTo>
                    <a:lnTo>
                      <a:pt x="1908" y="3279"/>
                    </a:lnTo>
                    <a:lnTo>
                      <a:pt x="1931" y="3272"/>
                    </a:lnTo>
                    <a:lnTo>
                      <a:pt x="1953" y="3266"/>
                    </a:lnTo>
                    <a:lnTo>
                      <a:pt x="1976" y="3261"/>
                    </a:lnTo>
                    <a:lnTo>
                      <a:pt x="2000" y="3256"/>
                    </a:lnTo>
                    <a:lnTo>
                      <a:pt x="2023" y="3254"/>
                    </a:lnTo>
                    <a:lnTo>
                      <a:pt x="2047" y="3252"/>
                    </a:lnTo>
                    <a:lnTo>
                      <a:pt x="2072" y="3251"/>
                    </a:lnTo>
                    <a:close/>
                    <a:moveTo>
                      <a:pt x="2072" y="3340"/>
                    </a:moveTo>
                    <a:lnTo>
                      <a:pt x="2072" y="3340"/>
                    </a:lnTo>
                    <a:lnTo>
                      <a:pt x="2052" y="3341"/>
                    </a:lnTo>
                    <a:lnTo>
                      <a:pt x="2032" y="3342"/>
                    </a:lnTo>
                    <a:lnTo>
                      <a:pt x="2013" y="3344"/>
                    </a:lnTo>
                    <a:lnTo>
                      <a:pt x="1994" y="3347"/>
                    </a:lnTo>
                    <a:lnTo>
                      <a:pt x="1975" y="3352"/>
                    </a:lnTo>
                    <a:lnTo>
                      <a:pt x="1957" y="3357"/>
                    </a:lnTo>
                    <a:lnTo>
                      <a:pt x="1940" y="3363"/>
                    </a:lnTo>
                    <a:lnTo>
                      <a:pt x="1922" y="3370"/>
                    </a:lnTo>
                    <a:lnTo>
                      <a:pt x="1905" y="3377"/>
                    </a:lnTo>
                    <a:lnTo>
                      <a:pt x="1888" y="3386"/>
                    </a:lnTo>
                    <a:lnTo>
                      <a:pt x="1873" y="3395"/>
                    </a:lnTo>
                    <a:lnTo>
                      <a:pt x="1857" y="3405"/>
                    </a:lnTo>
                    <a:lnTo>
                      <a:pt x="1842" y="3416"/>
                    </a:lnTo>
                    <a:lnTo>
                      <a:pt x="1827" y="3427"/>
                    </a:lnTo>
                    <a:lnTo>
                      <a:pt x="1813" y="3440"/>
                    </a:lnTo>
                    <a:lnTo>
                      <a:pt x="1799" y="3453"/>
                    </a:lnTo>
                    <a:lnTo>
                      <a:pt x="1787" y="3466"/>
                    </a:lnTo>
                    <a:lnTo>
                      <a:pt x="1775" y="3480"/>
                    </a:lnTo>
                    <a:lnTo>
                      <a:pt x="1764" y="3494"/>
                    </a:lnTo>
                    <a:lnTo>
                      <a:pt x="1753" y="3510"/>
                    </a:lnTo>
                    <a:lnTo>
                      <a:pt x="1743" y="3525"/>
                    </a:lnTo>
                    <a:lnTo>
                      <a:pt x="1734" y="3541"/>
                    </a:lnTo>
                    <a:lnTo>
                      <a:pt x="1725" y="3558"/>
                    </a:lnTo>
                    <a:lnTo>
                      <a:pt x="1717" y="3574"/>
                    </a:lnTo>
                    <a:lnTo>
                      <a:pt x="1710" y="3592"/>
                    </a:lnTo>
                    <a:lnTo>
                      <a:pt x="1705" y="3610"/>
                    </a:lnTo>
                    <a:lnTo>
                      <a:pt x="1699" y="3628"/>
                    </a:lnTo>
                    <a:lnTo>
                      <a:pt x="1695" y="3646"/>
                    </a:lnTo>
                    <a:lnTo>
                      <a:pt x="1692" y="3665"/>
                    </a:lnTo>
                    <a:lnTo>
                      <a:pt x="1689" y="3684"/>
                    </a:lnTo>
                    <a:lnTo>
                      <a:pt x="1688" y="3704"/>
                    </a:lnTo>
                    <a:lnTo>
                      <a:pt x="1687" y="3724"/>
                    </a:lnTo>
                    <a:lnTo>
                      <a:pt x="1688" y="3757"/>
                    </a:lnTo>
                    <a:lnTo>
                      <a:pt x="1693" y="3788"/>
                    </a:lnTo>
                    <a:lnTo>
                      <a:pt x="1699" y="3818"/>
                    </a:lnTo>
                    <a:lnTo>
                      <a:pt x="1707" y="3848"/>
                    </a:lnTo>
                    <a:lnTo>
                      <a:pt x="1718" y="3876"/>
                    </a:lnTo>
                    <a:lnTo>
                      <a:pt x="1732" y="3903"/>
                    </a:lnTo>
                    <a:lnTo>
                      <a:pt x="1747" y="3929"/>
                    </a:lnTo>
                    <a:lnTo>
                      <a:pt x="1764" y="3955"/>
                    </a:lnTo>
                    <a:lnTo>
                      <a:pt x="1794" y="3986"/>
                    </a:lnTo>
                    <a:lnTo>
                      <a:pt x="1808" y="4000"/>
                    </a:lnTo>
                    <a:lnTo>
                      <a:pt x="1824" y="4015"/>
                    </a:lnTo>
                    <a:lnTo>
                      <a:pt x="1839" y="4028"/>
                    </a:lnTo>
                    <a:lnTo>
                      <a:pt x="1856" y="4040"/>
                    </a:lnTo>
                    <a:lnTo>
                      <a:pt x="1873" y="4052"/>
                    </a:lnTo>
                    <a:lnTo>
                      <a:pt x="1890" y="4062"/>
                    </a:lnTo>
                    <a:lnTo>
                      <a:pt x="1911" y="4072"/>
                    </a:lnTo>
                    <a:lnTo>
                      <a:pt x="1932" y="4082"/>
                    </a:lnTo>
                    <a:lnTo>
                      <a:pt x="1953" y="4090"/>
                    </a:lnTo>
                    <a:lnTo>
                      <a:pt x="1976" y="4096"/>
                    </a:lnTo>
                    <a:lnTo>
                      <a:pt x="1998" y="4101"/>
                    </a:lnTo>
                    <a:lnTo>
                      <a:pt x="2022" y="4105"/>
                    </a:lnTo>
                    <a:lnTo>
                      <a:pt x="2046" y="4108"/>
                    </a:lnTo>
                    <a:lnTo>
                      <a:pt x="2071" y="4108"/>
                    </a:lnTo>
                    <a:lnTo>
                      <a:pt x="2072" y="4108"/>
                    </a:lnTo>
                    <a:lnTo>
                      <a:pt x="2096" y="4108"/>
                    </a:lnTo>
                    <a:lnTo>
                      <a:pt x="2121" y="4105"/>
                    </a:lnTo>
                    <a:lnTo>
                      <a:pt x="2144" y="4101"/>
                    </a:lnTo>
                    <a:lnTo>
                      <a:pt x="2168" y="4096"/>
                    </a:lnTo>
                    <a:lnTo>
                      <a:pt x="2190" y="4090"/>
                    </a:lnTo>
                    <a:lnTo>
                      <a:pt x="2212" y="4082"/>
                    </a:lnTo>
                    <a:lnTo>
                      <a:pt x="2233" y="4072"/>
                    </a:lnTo>
                    <a:lnTo>
                      <a:pt x="2253" y="4062"/>
                    </a:lnTo>
                    <a:lnTo>
                      <a:pt x="2271" y="4052"/>
                    </a:lnTo>
                    <a:lnTo>
                      <a:pt x="2288" y="4040"/>
                    </a:lnTo>
                    <a:lnTo>
                      <a:pt x="2303" y="4028"/>
                    </a:lnTo>
                    <a:lnTo>
                      <a:pt x="2319" y="4015"/>
                    </a:lnTo>
                    <a:lnTo>
                      <a:pt x="2334" y="4000"/>
                    </a:lnTo>
                    <a:lnTo>
                      <a:pt x="2350" y="3986"/>
                    </a:lnTo>
                    <a:lnTo>
                      <a:pt x="2379" y="3955"/>
                    </a:lnTo>
                    <a:lnTo>
                      <a:pt x="2397" y="3929"/>
                    </a:lnTo>
                    <a:lnTo>
                      <a:pt x="2411" y="3903"/>
                    </a:lnTo>
                    <a:lnTo>
                      <a:pt x="2424" y="3876"/>
                    </a:lnTo>
                    <a:lnTo>
                      <a:pt x="2436" y="3848"/>
                    </a:lnTo>
                    <a:lnTo>
                      <a:pt x="2444" y="3818"/>
                    </a:lnTo>
                    <a:lnTo>
                      <a:pt x="2451" y="3788"/>
                    </a:lnTo>
                    <a:lnTo>
                      <a:pt x="2454" y="3757"/>
                    </a:lnTo>
                    <a:lnTo>
                      <a:pt x="2456" y="3724"/>
                    </a:lnTo>
                    <a:lnTo>
                      <a:pt x="2456" y="3704"/>
                    </a:lnTo>
                    <a:lnTo>
                      <a:pt x="2453" y="3684"/>
                    </a:lnTo>
                    <a:lnTo>
                      <a:pt x="2451" y="3665"/>
                    </a:lnTo>
                    <a:lnTo>
                      <a:pt x="2448" y="3646"/>
                    </a:lnTo>
                    <a:lnTo>
                      <a:pt x="2443" y="3628"/>
                    </a:lnTo>
                    <a:lnTo>
                      <a:pt x="2439" y="3610"/>
                    </a:lnTo>
                    <a:lnTo>
                      <a:pt x="2432" y="3592"/>
                    </a:lnTo>
                    <a:lnTo>
                      <a:pt x="2426" y="3574"/>
                    </a:lnTo>
                    <a:lnTo>
                      <a:pt x="2418" y="3558"/>
                    </a:lnTo>
                    <a:lnTo>
                      <a:pt x="2410" y="3541"/>
                    </a:lnTo>
                    <a:lnTo>
                      <a:pt x="2400" y="3525"/>
                    </a:lnTo>
                    <a:lnTo>
                      <a:pt x="2390" y="3510"/>
                    </a:lnTo>
                    <a:lnTo>
                      <a:pt x="2380" y="3494"/>
                    </a:lnTo>
                    <a:lnTo>
                      <a:pt x="2368" y="3480"/>
                    </a:lnTo>
                    <a:lnTo>
                      <a:pt x="2355" y="3466"/>
                    </a:lnTo>
                    <a:lnTo>
                      <a:pt x="2343" y="3453"/>
                    </a:lnTo>
                    <a:lnTo>
                      <a:pt x="2330" y="3440"/>
                    </a:lnTo>
                    <a:lnTo>
                      <a:pt x="2317" y="3427"/>
                    </a:lnTo>
                    <a:lnTo>
                      <a:pt x="2301" y="3416"/>
                    </a:lnTo>
                    <a:lnTo>
                      <a:pt x="2287" y="3405"/>
                    </a:lnTo>
                    <a:lnTo>
                      <a:pt x="2271" y="3395"/>
                    </a:lnTo>
                    <a:lnTo>
                      <a:pt x="2254" y="3386"/>
                    </a:lnTo>
                    <a:lnTo>
                      <a:pt x="2239" y="3377"/>
                    </a:lnTo>
                    <a:lnTo>
                      <a:pt x="2221" y="3370"/>
                    </a:lnTo>
                    <a:lnTo>
                      <a:pt x="2204" y="3363"/>
                    </a:lnTo>
                    <a:lnTo>
                      <a:pt x="2186" y="3357"/>
                    </a:lnTo>
                    <a:lnTo>
                      <a:pt x="2168" y="3352"/>
                    </a:lnTo>
                    <a:lnTo>
                      <a:pt x="2149" y="3347"/>
                    </a:lnTo>
                    <a:lnTo>
                      <a:pt x="2130" y="3344"/>
                    </a:lnTo>
                    <a:lnTo>
                      <a:pt x="2111" y="3342"/>
                    </a:lnTo>
                    <a:lnTo>
                      <a:pt x="2092" y="3341"/>
                    </a:lnTo>
                    <a:lnTo>
                      <a:pt x="2072" y="3340"/>
                    </a:lnTo>
                    <a:close/>
                    <a:moveTo>
                      <a:pt x="702" y="467"/>
                    </a:moveTo>
                    <a:lnTo>
                      <a:pt x="702" y="467"/>
                    </a:lnTo>
                    <a:lnTo>
                      <a:pt x="702" y="457"/>
                    </a:lnTo>
                    <a:lnTo>
                      <a:pt x="704" y="448"/>
                    </a:lnTo>
                    <a:lnTo>
                      <a:pt x="706" y="439"/>
                    </a:lnTo>
                    <a:lnTo>
                      <a:pt x="710" y="430"/>
                    </a:lnTo>
                    <a:lnTo>
                      <a:pt x="713" y="423"/>
                    </a:lnTo>
                    <a:lnTo>
                      <a:pt x="717" y="415"/>
                    </a:lnTo>
                    <a:lnTo>
                      <a:pt x="723" y="407"/>
                    </a:lnTo>
                    <a:lnTo>
                      <a:pt x="730" y="400"/>
                    </a:lnTo>
                    <a:lnTo>
                      <a:pt x="736" y="395"/>
                    </a:lnTo>
                    <a:lnTo>
                      <a:pt x="743" y="389"/>
                    </a:lnTo>
                    <a:lnTo>
                      <a:pt x="751" y="384"/>
                    </a:lnTo>
                    <a:lnTo>
                      <a:pt x="760" y="380"/>
                    </a:lnTo>
                    <a:lnTo>
                      <a:pt x="768" y="377"/>
                    </a:lnTo>
                    <a:lnTo>
                      <a:pt x="777" y="375"/>
                    </a:lnTo>
                    <a:lnTo>
                      <a:pt x="786" y="374"/>
                    </a:lnTo>
                    <a:lnTo>
                      <a:pt x="796" y="373"/>
                    </a:lnTo>
                    <a:lnTo>
                      <a:pt x="806" y="374"/>
                    </a:lnTo>
                    <a:lnTo>
                      <a:pt x="815" y="375"/>
                    </a:lnTo>
                    <a:lnTo>
                      <a:pt x="824" y="377"/>
                    </a:lnTo>
                    <a:lnTo>
                      <a:pt x="833" y="380"/>
                    </a:lnTo>
                    <a:lnTo>
                      <a:pt x="842" y="384"/>
                    </a:lnTo>
                    <a:lnTo>
                      <a:pt x="850" y="389"/>
                    </a:lnTo>
                    <a:lnTo>
                      <a:pt x="856" y="395"/>
                    </a:lnTo>
                    <a:lnTo>
                      <a:pt x="863" y="400"/>
                    </a:lnTo>
                    <a:lnTo>
                      <a:pt x="870" y="407"/>
                    </a:lnTo>
                    <a:lnTo>
                      <a:pt x="874" y="415"/>
                    </a:lnTo>
                    <a:lnTo>
                      <a:pt x="880" y="423"/>
                    </a:lnTo>
                    <a:lnTo>
                      <a:pt x="883" y="430"/>
                    </a:lnTo>
                    <a:lnTo>
                      <a:pt x="886" y="439"/>
                    </a:lnTo>
                    <a:lnTo>
                      <a:pt x="889" y="448"/>
                    </a:lnTo>
                    <a:lnTo>
                      <a:pt x="891" y="457"/>
                    </a:lnTo>
                    <a:lnTo>
                      <a:pt x="891" y="467"/>
                    </a:lnTo>
                    <a:lnTo>
                      <a:pt x="891" y="477"/>
                    </a:lnTo>
                    <a:lnTo>
                      <a:pt x="889" y="486"/>
                    </a:lnTo>
                    <a:lnTo>
                      <a:pt x="886" y="495"/>
                    </a:lnTo>
                    <a:lnTo>
                      <a:pt x="883" y="504"/>
                    </a:lnTo>
                    <a:lnTo>
                      <a:pt x="880" y="513"/>
                    </a:lnTo>
                    <a:lnTo>
                      <a:pt x="874" y="520"/>
                    </a:lnTo>
                    <a:lnTo>
                      <a:pt x="870" y="527"/>
                    </a:lnTo>
                    <a:lnTo>
                      <a:pt x="863" y="534"/>
                    </a:lnTo>
                    <a:lnTo>
                      <a:pt x="856" y="540"/>
                    </a:lnTo>
                    <a:lnTo>
                      <a:pt x="850" y="546"/>
                    </a:lnTo>
                    <a:lnTo>
                      <a:pt x="842" y="550"/>
                    </a:lnTo>
                    <a:lnTo>
                      <a:pt x="833" y="554"/>
                    </a:lnTo>
                    <a:lnTo>
                      <a:pt x="824" y="557"/>
                    </a:lnTo>
                    <a:lnTo>
                      <a:pt x="815" y="559"/>
                    </a:lnTo>
                    <a:lnTo>
                      <a:pt x="806" y="562"/>
                    </a:lnTo>
                    <a:lnTo>
                      <a:pt x="796" y="562"/>
                    </a:lnTo>
                    <a:lnTo>
                      <a:pt x="786" y="562"/>
                    </a:lnTo>
                    <a:lnTo>
                      <a:pt x="777" y="559"/>
                    </a:lnTo>
                    <a:lnTo>
                      <a:pt x="768" y="557"/>
                    </a:lnTo>
                    <a:lnTo>
                      <a:pt x="760" y="554"/>
                    </a:lnTo>
                    <a:lnTo>
                      <a:pt x="751" y="550"/>
                    </a:lnTo>
                    <a:lnTo>
                      <a:pt x="743" y="546"/>
                    </a:lnTo>
                    <a:lnTo>
                      <a:pt x="736" y="540"/>
                    </a:lnTo>
                    <a:lnTo>
                      <a:pt x="730" y="534"/>
                    </a:lnTo>
                    <a:lnTo>
                      <a:pt x="723" y="527"/>
                    </a:lnTo>
                    <a:lnTo>
                      <a:pt x="717" y="520"/>
                    </a:lnTo>
                    <a:lnTo>
                      <a:pt x="713" y="513"/>
                    </a:lnTo>
                    <a:lnTo>
                      <a:pt x="710" y="504"/>
                    </a:lnTo>
                    <a:lnTo>
                      <a:pt x="706" y="495"/>
                    </a:lnTo>
                    <a:lnTo>
                      <a:pt x="704" y="486"/>
                    </a:lnTo>
                    <a:lnTo>
                      <a:pt x="702" y="477"/>
                    </a:lnTo>
                    <a:lnTo>
                      <a:pt x="702" y="467"/>
                    </a:lnTo>
                    <a:close/>
                    <a:moveTo>
                      <a:pt x="1016" y="467"/>
                    </a:moveTo>
                    <a:lnTo>
                      <a:pt x="1016" y="467"/>
                    </a:lnTo>
                    <a:lnTo>
                      <a:pt x="1018" y="457"/>
                    </a:lnTo>
                    <a:lnTo>
                      <a:pt x="1019" y="448"/>
                    </a:lnTo>
                    <a:lnTo>
                      <a:pt x="1021" y="439"/>
                    </a:lnTo>
                    <a:lnTo>
                      <a:pt x="1024" y="430"/>
                    </a:lnTo>
                    <a:lnTo>
                      <a:pt x="1028" y="423"/>
                    </a:lnTo>
                    <a:lnTo>
                      <a:pt x="1033" y="415"/>
                    </a:lnTo>
                    <a:lnTo>
                      <a:pt x="1039" y="407"/>
                    </a:lnTo>
                    <a:lnTo>
                      <a:pt x="1044" y="400"/>
                    </a:lnTo>
                    <a:lnTo>
                      <a:pt x="1051" y="395"/>
                    </a:lnTo>
                    <a:lnTo>
                      <a:pt x="1059" y="389"/>
                    </a:lnTo>
                    <a:lnTo>
                      <a:pt x="1067" y="384"/>
                    </a:lnTo>
                    <a:lnTo>
                      <a:pt x="1074" y="380"/>
                    </a:lnTo>
                    <a:lnTo>
                      <a:pt x="1083" y="377"/>
                    </a:lnTo>
                    <a:lnTo>
                      <a:pt x="1092" y="375"/>
                    </a:lnTo>
                    <a:lnTo>
                      <a:pt x="1101" y="374"/>
                    </a:lnTo>
                    <a:lnTo>
                      <a:pt x="1111" y="373"/>
                    </a:lnTo>
                    <a:lnTo>
                      <a:pt x="1121" y="374"/>
                    </a:lnTo>
                    <a:lnTo>
                      <a:pt x="1130" y="375"/>
                    </a:lnTo>
                    <a:lnTo>
                      <a:pt x="1139" y="377"/>
                    </a:lnTo>
                    <a:lnTo>
                      <a:pt x="1148" y="380"/>
                    </a:lnTo>
                    <a:lnTo>
                      <a:pt x="1157" y="384"/>
                    </a:lnTo>
                    <a:lnTo>
                      <a:pt x="1164" y="389"/>
                    </a:lnTo>
                    <a:lnTo>
                      <a:pt x="1171" y="395"/>
                    </a:lnTo>
                    <a:lnTo>
                      <a:pt x="1178" y="400"/>
                    </a:lnTo>
                    <a:lnTo>
                      <a:pt x="1184" y="407"/>
                    </a:lnTo>
                    <a:lnTo>
                      <a:pt x="1190" y="415"/>
                    </a:lnTo>
                    <a:lnTo>
                      <a:pt x="1194" y="423"/>
                    </a:lnTo>
                    <a:lnTo>
                      <a:pt x="1198" y="430"/>
                    </a:lnTo>
                    <a:lnTo>
                      <a:pt x="1201" y="439"/>
                    </a:lnTo>
                    <a:lnTo>
                      <a:pt x="1203" y="448"/>
                    </a:lnTo>
                    <a:lnTo>
                      <a:pt x="1206" y="457"/>
                    </a:lnTo>
                    <a:lnTo>
                      <a:pt x="1206" y="467"/>
                    </a:lnTo>
                    <a:lnTo>
                      <a:pt x="1206" y="477"/>
                    </a:lnTo>
                    <a:lnTo>
                      <a:pt x="1203" y="486"/>
                    </a:lnTo>
                    <a:lnTo>
                      <a:pt x="1201" y="495"/>
                    </a:lnTo>
                    <a:lnTo>
                      <a:pt x="1198" y="504"/>
                    </a:lnTo>
                    <a:lnTo>
                      <a:pt x="1194" y="513"/>
                    </a:lnTo>
                    <a:lnTo>
                      <a:pt x="1190" y="520"/>
                    </a:lnTo>
                    <a:lnTo>
                      <a:pt x="1184" y="527"/>
                    </a:lnTo>
                    <a:lnTo>
                      <a:pt x="1178" y="534"/>
                    </a:lnTo>
                    <a:lnTo>
                      <a:pt x="1171" y="540"/>
                    </a:lnTo>
                    <a:lnTo>
                      <a:pt x="1164" y="546"/>
                    </a:lnTo>
                    <a:lnTo>
                      <a:pt x="1157" y="550"/>
                    </a:lnTo>
                    <a:lnTo>
                      <a:pt x="1148" y="554"/>
                    </a:lnTo>
                    <a:lnTo>
                      <a:pt x="1139" y="557"/>
                    </a:lnTo>
                    <a:lnTo>
                      <a:pt x="1130" y="559"/>
                    </a:lnTo>
                    <a:lnTo>
                      <a:pt x="1121" y="562"/>
                    </a:lnTo>
                    <a:lnTo>
                      <a:pt x="1111" y="562"/>
                    </a:lnTo>
                    <a:lnTo>
                      <a:pt x="1101" y="562"/>
                    </a:lnTo>
                    <a:lnTo>
                      <a:pt x="1092" y="559"/>
                    </a:lnTo>
                    <a:lnTo>
                      <a:pt x="1083" y="557"/>
                    </a:lnTo>
                    <a:lnTo>
                      <a:pt x="1074" y="554"/>
                    </a:lnTo>
                    <a:lnTo>
                      <a:pt x="1067" y="550"/>
                    </a:lnTo>
                    <a:lnTo>
                      <a:pt x="1059" y="546"/>
                    </a:lnTo>
                    <a:lnTo>
                      <a:pt x="1051" y="540"/>
                    </a:lnTo>
                    <a:lnTo>
                      <a:pt x="1044" y="534"/>
                    </a:lnTo>
                    <a:lnTo>
                      <a:pt x="1039" y="527"/>
                    </a:lnTo>
                    <a:lnTo>
                      <a:pt x="1033" y="520"/>
                    </a:lnTo>
                    <a:lnTo>
                      <a:pt x="1028" y="513"/>
                    </a:lnTo>
                    <a:lnTo>
                      <a:pt x="1024" y="504"/>
                    </a:lnTo>
                    <a:lnTo>
                      <a:pt x="1021" y="495"/>
                    </a:lnTo>
                    <a:lnTo>
                      <a:pt x="1019" y="486"/>
                    </a:lnTo>
                    <a:lnTo>
                      <a:pt x="1018" y="477"/>
                    </a:lnTo>
                    <a:lnTo>
                      <a:pt x="1016" y="467"/>
                    </a:lnTo>
                    <a:close/>
                    <a:moveTo>
                      <a:pt x="1331" y="467"/>
                    </a:moveTo>
                    <a:lnTo>
                      <a:pt x="1331" y="467"/>
                    </a:lnTo>
                    <a:lnTo>
                      <a:pt x="1332" y="457"/>
                    </a:lnTo>
                    <a:lnTo>
                      <a:pt x="1333" y="448"/>
                    </a:lnTo>
                    <a:lnTo>
                      <a:pt x="1336" y="439"/>
                    </a:lnTo>
                    <a:lnTo>
                      <a:pt x="1339" y="430"/>
                    </a:lnTo>
                    <a:lnTo>
                      <a:pt x="1342" y="423"/>
                    </a:lnTo>
                    <a:lnTo>
                      <a:pt x="1348" y="415"/>
                    </a:lnTo>
                    <a:lnTo>
                      <a:pt x="1353" y="407"/>
                    </a:lnTo>
                    <a:lnTo>
                      <a:pt x="1359" y="400"/>
                    </a:lnTo>
                    <a:lnTo>
                      <a:pt x="1366" y="395"/>
                    </a:lnTo>
                    <a:lnTo>
                      <a:pt x="1373" y="389"/>
                    </a:lnTo>
                    <a:lnTo>
                      <a:pt x="1381" y="384"/>
                    </a:lnTo>
                    <a:lnTo>
                      <a:pt x="1389" y="380"/>
                    </a:lnTo>
                    <a:lnTo>
                      <a:pt x="1398" y="377"/>
                    </a:lnTo>
                    <a:lnTo>
                      <a:pt x="1407" y="375"/>
                    </a:lnTo>
                    <a:lnTo>
                      <a:pt x="1417" y="374"/>
                    </a:lnTo>
                    <a:lnTo>
                      <a:pt x="1426" y="373"/>
                    </a:lnTo>
                    <a:lnTo>
                      <a:pt x="1436" y="374"/>
                    </a:lnTo>
                    <a:lnTo>
                      <a:pt x="1445" y="375"/>
                    </a:lnTo>
                    <a:lnTo>
                      <a:pt x="1455" y="377"/>
                    </a:lnTo>
                    <a:lnTo>
                      <a:pt x="1462" y="380"/>
                    </a:lnTo>
                    <a:lnTo>
                      <a:pt x="1471" y="384"/>
                    </a:lnTo>
                    <a:lnTo>
                      <a:pt x="1479" y="389"/>
                    </a:lnTo>
                    <a:lnTo>
                      <a:pt x="1486" y="395"/>
                    </a:lnTo>
                    <a:lnTo>
                      <a:pt x="1492" y="400"/>
                    </a:lnTo>
                    <a:lnTo>
                      <a:pt x="1499" y="407"/>
                    </a:lnTo>
                    <a:lnTo>
                      <a:pt x="1505" y="415"/>
                    </a:lnTo>
                    <a:lnTo>
                      <a:pt x="1509" y="423"/>
                    </a:lnTo>
                    <a:lnTo>
                      <a:pt x="1514" y="430"/>
                    </a:lnTo>
                    <a:lnTo>
                      <a:pt x="1516" y="439"/>
                    </a:lnTo>
                    <a:lnTo>
                      <a:pt x="1519" y="448"/>
                    </a:lnTo>
                    <a:lnTo>
                      <a:pt x="1520" y="457"/>
                    </a:lnTo>
                    <a:lnTo>
                      <a:pt x="1520" y="467"/>
                    </a:lnTo>
                    <a:lnTo>
                      <a:pt x="1520" y="477"/>
                    </a:lnTo>
                    <a:lnTo>
                      <a:pt x="1519" y="486"/>
                    </a:lnTo>
                    <a:lnTo>
                      <a:pt x="1516" y="495"/>
                    </a:lnTo>
                    <a:lnTo>
                      <a:pt x="1514" y="504"/>
                    </a:lnTo>
                    <a:lnTo>
                      <a:pt x="1509" y="513"/>
                    </a:lnTo>
                    <a:lnTo>
                      <a:pt x="1505" y="520"/>
                    </a:lnTo>
                    <a:lnTo>
                      <a:pt x="1499" y="527"/>
                    </a:lnTo>
                    <a:lnTo>
                      <a:pt x="1492" y="534"/>
                    </a:lnTo>
                    <a:lnTo>
                      <a:pt x="1486" y="540"/>
                    </a:lnTo>
                    <a:lnTo>
                      <a:pt x="1479" y="546"/>
                    </a:lnTo>
                    <a:lnTo>
                      <a:pt x="1471" y="550"/>
                    </a:lnTo>
                    <a:lnTo>
                      <a:pt x="1462" y="554"/>
                    </a:lnTo>
                    <a:lnTo>
                      <a:pt x="1455" y="557"/>
                    </a:lnTo>
                    <a:lnTo>
                      <a:pt x="1445" y="559"/>
                    </a:lnTo>
                    <a:lnTo>
                      <a:pt x="1436" y="562"/>
                    </a:lnTo>
                    <a:lnTo>
                      <a:pt x="1426" y="562"/>
                    </a:lnTo>
                    <a:lnTo>
                      <a:pt x="1417" y="562"/>
                    </a:lnTo>
                    <a:lnTo>
                      <a:pt x="1407" y="559"/>
                    </a:lnTo>
                    <a:lnTo>
                      <a:pt x="1398" y="557"/>
                    </a:lnTo>
                    <a:lnTo>
                      <a:pt x="1389" y="554"/>
                    </a:lnTo>
                    <a:lnTo>
                      <a:pt x="1381" y="550"/>
                    </a:lnTo>
                    <a:lnTo>
                      <a:pt x="1373" y="546"/>
                    </a:lnTo>
                    <a:lnTo>
                      <a:pt x="1366" y="540"/>
                    </a:lnTo>
                    <a:lnTo>
                      <a:pt x="1359" y="534"/>
                    </a:lnTo>
                    <a:lnTo>
                      <a:pt x="1353" y="527"/>
                    </a:lnTo>
                    <a:lnTo>
                      <a:pt x="1348" y="520"/>
                    </a:lnTo>
                    <a:lnTo>
                      <a:pt x="1342" y="513"/>
                    </a:lnTo>
                    <a:lnTo>
                      <a:pt x="1339" y="504"/>
                    </a:lnTo>
                    <a:lnTo>
                      <a:pt x="1336" y="495"/>
                    </a:lnTo>
                    <a:lnTo>
                      <a:pt x="1333" y="486"/>
                    </a:lnTo>
                    <a:lnTo>
                      <a:pt x="1332" y="477"/>
                    </a:lnTo>
                    <a:lnTo>
                      <a:pt x="1331" y="467"/>
                    </a:lnTo>
                    <a:close/>
                    <a:moveTo>
                      <a:pt x="1646" y="467"/>
                    </a:moveTo>
                    <a:lnTo>
                      <a:pt x="1646" y="467"/>
                    </a:lnTo>
                    <a:lnTo>
                      <a:pt x="1647" y="457"/>
                    </a:lnTo>
                    <a:lnTo>
                      <a:pt x="1648" y="448"/>
                    </a:lnTo>
                    <a:lnTo>
                      <a:pt x="1650" y="439"/>
                    </a:lnTo>
                    <a:lnTo>
                      <a:pt x="1654" y="430"/>
                    </a:lnTo>
                    <a:lnTo>
                      <a:pt x="1658" y="423"/>
                    </a:lnTo>
                    <a:lnTo>
                      <a:pt x="1663" y="415"/>
                    </a:lnTo>
                    <a:lnTo>
                      <a:pt x="1668" y="407"/>
                    </a:lnTo>
                    <a:lnTo>
                      <a:pt x="1674" y="400"/>
                    </a:lnTo>
                    <a:lnTo>
                      <a:pt x="1680" y="395"/>
                    </a:lnTo>
                    <a:lnTo>
                      <a:pt x="1688" y="389"/>
                    </a:lnTo>
                    <a:lnTo>
                      <a:pt x="1696" y="384"/>
                    </a:lnTo>
                    <a:lnTo>
                      <a:pt x="1704" y="380"/>
                    </a:lnTo>
                    <a:lnTo>
                      <a:pt x="1713" y="377"/>
                    </a:lnTo>
                    <a:lnTo>
                      <a:pt x="1722" y="375"/>
                    </a:lnTo>
                    <a:lnTo>
                      <a:pt x="1732" y="374"/>
                    </a:lnTo>
                    <a:lnTo>
                      <a:pt x="1740" y="373"/>
                    </a:lnTo>
                    <a:lnTo>
                      <a:pt x="1750" y="374"/>
                    </a:lnTo>
                    <a:lnTo>
                      <a:pt x="1761" y="375"/>
                    </a:lnTo>
                    <a:lnTo>
                      <a:pt x="1769" y="377"/>
                    </a:lnTo>
                    <a:lnTo>
                      <a:pt x="1778" y="380"/>
                    </a:lnTo>
                    <a:lnTo>
                      <a:pt x="1786" y="384"/>
                    </a:lnTo>
                    <a:lnTo>
                      <a:pt x="1794" y="389"/>
                    </a:lnTo>
                    <a:lnTo>
                      <a:pt x="1802" y="395"/>
                    </a:lnTo>
                    <a:lnTo>
                      <a:pt x="1808" y="400"/>
                    </a:lnTo>
                    <a:lnTo>
                      <a:pt x="1814" y="407"/>
                    </a:lnTo>
                    <a:lnTo>
                      <a:pt x="1819" y="415"/>
                    </a:lnTo>
                    <a:lnTo>
                      <a:pt x="1824" y="423"/>
                    </a:lnTo>
                    <a:lnTo>
                      <a:pt x="1828" y="430"/>
                    </a:lnTo>
                    <a:lnTo>
                      <a:pt x="1832" y="439"/>
                    </a:lnTo>
                    <a:lnTo>
                      <a:pt x="1834" y="448"/>
                    </a:lnTo>
                    <a:lnTo>
                      <a:pt x="1835" y="457"/>
                    </a:lnTo>
                    <a:lnTo>
                      <a:pt x="1835" y="467"/>
                    </a:lnTo>
                    <a:lnTo>
                      <a:pt x="1835" y="477"/>
                    </a:lnTo>
                    <a:lnTo>
                      <a:pt x="1834" y="486"/>
                    </a:lnTo>
                    <a:lnTo>
                      <a:pt x="1832" y="495"/>
                    </a:lnTo>
                    <a:lnTo>
                      <a:pt x="1828" y="504"/>
                    </a:lnTo>
                    <a:lnTo>
                      <a:pt x="1824" y="513"/>
                    </a:lnTo>
                    <a:lnTo>
                      <a:pt x="1819" y="520"/>
                    </a:lnTo>
                    <a:lnTo>
                      <a:pt x="1814" y="527"/>
                    </a:lnTo>
                    <a:lnTo>
                      <a:pt x="1808" y="534"/>
                    </a:lnTo>
                    <a:lnTo>
                      <a:pt x="1802" y="540"/>
                    </a:lnTo>
                    <a:lnTo>
                      <a:pt x="1794" y="546"/>
                    </a:lnTo>
                    <a:lnTo>
                      <a:pt x="1786" y="550"/>
                    </a:lnTo>
                    <a:lnTo>
                      <a:pt x="1778" y="554"/>
                    </a:lnTo>
                    <a:lnTo>
                      <a:pt x="1769" y="557"/>
                    </a:lnTo>
                    <a:lnTo>
                      <a:pt x="1761" y="559"/>
                    </a:lnTo>
                    <a:lnTo>
                      <a:pt x="1750" y="562"/>
                    </a:lnTo>
                    <a:lnTo>
                      <a:pt x="1740" y="562"/>
                    </a:lnTo>
                    <a:lnTo>
                      <a:pt x="1732" y="562"/>
                    </a:lnTo>
                    <a:lnTo>
                      <a:pt x="1722" y="559"/>
                    </a:lnTo>
                    <a:lnTo>
                      <a:pt x="1713" y="557"/>
                    </a:lnTo>
                    <a:lnTo>
                      <a:pt x="1704" y="554"/>
                    </a:lnTo>
                    <a:lnTo>
                      <a:pt x="1696" y="550"/>
                    </a:lnTo>
                    <a:lnTo>
                      <a:pt x="1688" y="546"/>
                    </a:lnTo>
                    <a:lnTo>
                      <a:pt x="1680" y="540"/>
                    </a:lnTo>
                    <a:lnTo>
                      <a:pt x="1674" y="534"/>
                    </a:lnTo>
                    <a:lnTo>
                      <a:pt x="1668" y="527"/>
                    </a:lnTo>
                    <a:lnTo>
                      <a:pt x="1663" y="520"/>
                    </a:lnTo>
                    <a:lnTo>
                      <a:pt x="1658" y="513"/>
                    </a:lnTo>
                    <a:lnTo>
                      <a:pt x="1654" y="504"/>
                    </a:lnTo>
                    <a:lnTo>
                      <a:pt x="1650" y="495"/>
                    </a:lnTo>
                    <a:lnTo>
                      <a:pt x="1648" y="486"/>
                    </a:lnTo>
                    <a:lnTo>
                      <a:pt x="1647" y="477"/>
                    </a:lnTo>
                    <a:lnTo>
                      <a:pt x="1646" y="467"/>
                    </a:lnTo>
                    <a:close/>
                    <a:moveTo>
                      <a:pt x="1966" y="467"/>
                    </a:moveTo>
                    <a:lnTo>
                      <a:pt x="1966" y="467"/>
                    </a:lnTo>
                    <a:lnTo>
                      <a:pt x="1966" y="457"/>
                    </a:lnTo>
                    <a:lnTo>
                      <a:pt x="1967" y="448"/>
                    </a:lnTo>
                    <a:lnTo>
                      <a:pt x="1970" y="439"/>
                    </a:lnTo>
                    <a:lnTo>
                      <a:pt x="1973" y="430"/>
                    </a:lnTo>
                    <a:lnTo>
                      <a:pt x="1977" y="423"/>
                    </a:lnTo>
                    <a:lnTo>
                      <a:pt x="1982" y="415"/>
                    </a:lnTo>
                    <a:lnTo>
                      <a:pt x="1987" y="407"/>
                    </a:lnTo>
                    <a:lnTo>
                      <a:pt x="1993" y="400"/>
                    </a:lnTo>
                    <a:lnTo>
                      <a:pt x="2000" y="395"/>
                    </a:lnTo>
                    <a:lnTo>
                      <a:pt x="2007" y="389"/>
                    </a:lnTo>
                    <a:lnTo>
                      <a:pt x="2015" y="384"/>
                    </a:lnTo>
                    <a:lnTo>
                      <a:pt x="2023" y="380"/>
                    </a:lnTo>
                    <a:lnTo>
                      <a:pt x="2032" y="377"/>
                    </a:lnTo>
                    <a:lnTo>
                      <a:pt x="2041" y="375"/>
                    </a:lnTo>
                    <a:lnTo>
                      <a:pt x="2051" y="374"/>
                    </a:lnTo>
                    <a:lnTo>
                      <a:pt x="2061" y="373"/>
                    </a:lnTo>
                    <a:lnTo>
                      <a:pt x="2070" y="374"/>
                    </a:lnTo>
                    <a:lnTo>
                      <a:pt x="2080" y="375"/>
                    </a:lnTo>
                    <a:lnTo>
                      <a:pt x="2089" y="377"/>
                    </a:lnTo>
                    <a:lnTo>
                      <a:pt x="2097" y="380"/>
                    </a:lnTo>
                    <a:lnTo>
                      <a:pt x="2105" y="384"/>
                    </a:lnTo>
                    <a:lnTo>
                      <a:pt x="2113" y="389"/>
                    </a:lnTo>
                    <a:lnTo>
                      <a:pt x="2121" y="395"/>
                    </a:lnTo>
                    <a:lnTo>
                      <a:pt x="2128" y="400"/>
                    </a:lnTo>
                    <a:lnTo>
                      <a:pt x="2133" y="407"/>
                    </a:lnTo>
                    <a:lnTo>
                      <a:pt x="2139" y="415"/>
                    </a:lnTo>
                    <a:lnTo>
                      <a:pt x="2143" y="423"/>
                    </a:lnTo>
                    <a:lnTo>
                      <a:pt x="2148" y="430"/>
                    </a:lnTo>
                    <a:lnTo>
                      <a:pt x="2151" y="439"/>
                    </a:lnTo>
                    <a:lnTo>
                      <a:pt x="2153" y="448"/>
                    </a:lnTo>
                    <a:lnTo>
                      <a:pt x="2154" y="457"/>
                    </a:lnTo>
                    <a:lnTo>
                      <a:pt x="2155" y="467"/>
                    </a:lnTo>
                    <a:lnTo>
                      <a:pt x="2154" y="477"/>
                    </a:lnTo>
                    <a:lnTo>
                      <a:pt x="2153" y="486"/>
                    </a:lnTo>
                    <a:lnTo>
                      <a:pt x="2151" y="495"/>
                    </a:lnTo>
                    <a:lnTo>
                      <a:pt x="2148" y="504"/>
                    </a:lnTo>
                    <a:lnTo>
                      <a:pt x="2143" y="513"/>
                    </a:lnTo>
                    <a:lnTo>
                      <a:pt x="2139" y="520"/>
                    </a:lnTo>
                    <a:lnTo>
                      <a:pt x="2133" y="527"/>
                    </a:lnTo>
                    <a:lnTo>
                      <a:pt x="2128" y="534"/>
                    </a:lnTo>
                    <a:lnTo>
                      <a:pt x="2121" y="540"/>
                    </a:lnTo>
                    <a:lnTo>
                      <a:pt x="2113" y="546"/>
                    </a:lnTo>
                    <a:lnTo>
                      <a:pt x="2105" y="550"/>
                    </a:lnTo>
                    <a:lnTo>
                      <a:pt x="2097" y="554"/>
                    </a:lnTo>
                    <a:lnTo>
                      <a:pt x="2089" y="557"/>
                    </a:lnTo>
                    <a:lnTo>
                      <a:pt x="2080" y="559"/>
                    </a:lnTo>
                    <a:lnTo>
                      <a:pt x="2070" y="562"/>
                    </a:lnTo>
                    <a:lnTo>
                      <a:pt x="2061" y="562"/>
                    </a:lnTo>
                    <a:lnTo>
                      <a:pt x="2051" y="562"/>
                    </a:lnTo>
                    <a:lnTo>
                      <a:pt x="2041" y="559"/>
                    </a:lnTo>
                    <a:lnTo>
                      <a:pt x="2032" y="557"/>
                    </a:lnTo>
                    <a:lnTo>
                      <a:pt x="2023" y="554"/>
                    </a:lnTo>
                    <a:lnTo>
                      <a:pt x="2015" y="550"/>
                    </a:lnTo>
                    <a:lnTo>
                      <a:pt x="2007" y="546"/>
                    </a:lnTo>
                    <a:lnTo>
                      <a:pt x="2000" y="540"/>
                    </a:lnTo>
                    <a:lnTo>
                      <a:pt x="1993" y="534"/>
                    </a:lnTo>
                    <a:lnTo>
                      <a:pt x="1987" y="527"/>
                    </a:lnTo>
                    <a:lnTo>
                      <a:pt x="1982" y="520"/>
                    </a:lnTo>
                    <a:lnTo>
                      <a:pt x="1977" y="513"/>
                    </a:lnTo>
                    <a:lnTo>
                      <a:pt x="1973" y="504"/>
                    </a:lnTo>
                    <a:lnTo>
                      <a:pt x="1970" y="495"/>
                    </a:lnTo>
                    <a:lnTo>
                      <a:pt x="1967" y="486"/>
                    </a:lnTo>
                    <a:lnTo>
                      <a:pt x="1966" y="477"/>
                    </a:lnTo>
                    <a:lnTo>
                      <a:pt x="1966" y="467"/>
                    </a:lnTo>
                    <a:close/>
                    <a:moveTo>
                      <a:pt x="2605" y="1398"/>
                    </a:moveTo>
                    <a:lnTo>
                      <a:pt x="2605" y="1398"/>
                    </a:lnTo>
                    <a:lnTo>
                      <a:pt x="2606" y="1388"/>
                    </a:lnTo>
                    <a:lnTo>
                      <a:pt x="2607" y="1379"/>
                    </a:lnTo>
                    <a:lnTo>
                      <a:pt x="2609" y="1370"/>
                    </a:lnTo>
                    <a:lnTo>
                      <a:pt x="2612" y="1361"/>
                    </a:lnTo>
                    <a:lnTo>
                      <a:pt x="2617" y="1353"/>
                    </a:lnTo>
                    <a:lnTo>
                      <a:pt x="2621" y="1344"/>
                    </a:lnTo>
                    <a:lnTo>
                      <a:pt x="2627" y="1338"/>
                    </a:lnTo>
                    <a:lnTo>
                      <a:pt x="2632" y="1331"/>
                    </a:lnTo>
                    <a:lnTo>
                      <a:pt x="2639" y="1324"/>
                    </a:lnTo>
                    <a:lnTo>
                      <a:pt x="2647" y="1320"/>
                    </a:lnTo>
                    <a:lnTo>
                      <a:pt x="2655" y="1314"/>
                    </a:lnTo>
                    <a:lnTo>
                      <a:pt x="2662" y="1311"/>
                    </a:lnTo>
                    <a:lnTo>
                      <a:pt x="2671" y="1308"/>
                    </a:lnTo>
                    <a:lnTo>
                      <a:pt x="2680" y="1306"/>
                    </a:lnTo>
                    <a:lnTo>
                      <a:pt x="2690" y="1303"/>
                    </a:lnTo>
                    <a:lnTo>
                      <a:pt x="2699" y="1303"/>
                    </a:lnTo>
                    <a:lnTo>
                      <a:pt x="2709" y="1303"/>
                    </a:lnTo>
                    <a:lnTo>
                      <a:pt x="2719" y="1306"/>
                    </a:lnTo>
                    <a:lnTo>
                      <a:pt x="2728" y="1308"/>
                    </a:lnTo>
                    <a:lnTo>
                      <a:pt x="2736" y="1311"/>
                    </a:lnTo>
                    <a:lnTo>
                      <a:pt x="2745" y="1314"/>
                    </a:lnTo>
                    <a:lnTo>
                      <a:pt x="2753" y="1320"/>
                    </a:lnTo>
                    <a:lnTo>
                      <a:pt x="2759" y="1324"/>
                    </a:lnTo>
                    <a:lnTo>
                      <a:pt x="2767" y="1331"/>
                    </a:lnTo>
                    <a:lnTo>
                      <a:pt x="2773" y="1338"/>
                    </a:lnTo>
                    <a:lnTo>
                      <a:pt x="2778" y="1344"/>
                    </a:lnTo>
                    <a:lnTo>
                      <a:pt x="2783" y="1353"/>
                    </a:lnTo>
                    <a:lnTo>
                      <a:pt x="2787" y="1361"/>
                    </a:lnTo>
                    <a:lnTo>
                      <a:pt x="2790" y="1370"/>
                    </a:lnTo>
                    <a:lnTo>
                      <a:pt x="2793" y="1379"/>
                    </a:lnTo>
                    <a:lnTo>
                      <a:pt x="2794" y="1388"/>
                    </a:lnTo>
                    <a:lnTo>
                      <a:pt x="2794" y="1398"/>
                    </a:lnTo>
                    <a:lnTo>
                      <a:pt x="2794" y="1408"/>
                    </a:lnTo>
                    <a:lnTo>
                      <a:pt x="2793" y="1417"/>
                    </a:lnTo>
                    <a:lnTo>
                      <a:pt x="2790" y="1426"/>
                    </a:lnTo>
                    <a:lnTo>
                      <a:pt x="2787" y="1435"/>
                    </a:lnTo>
                    <a:lnTo>
                      <a:pt x="2783" y="1443"/>
                    </a:lnTo>
                    <a:lnTo>
                      <a:pt x="2778" y="1451"/>
                    </a:lnTo>
                    <a:lnTo>
                      <a:pt x="2773" y="1458"/>
                    </a:lnTo>
                    <a:lnTo>
                      <a:pt x="2767" y="1465"/>
                    </a:lnTo>
                    <a:lnTo>
                      <a:pt x="2759" y="1471"/>
                    </a:lnTo>
                    <a:lnTo>
                      <a:pt x="2753" y="1477"/>
                    </a:lnTo>
                    <a:lnTo>
                      <a:pt x="2745" y="1481"/>
                    </a:lnTo>
                    <a:lnTo>
                      <a:pt x="2736" y="1485"/>
                    </a:lnTo>
                    <a:lnTo>
                      <a:pt x="2728" y="1488"/>
                    </a:lnTo>
                    <a:lnTo>
                      <a:pt x="2719" y="1490"/>
                    </a:lnTo>
                    <a:lnTo>
                      <a:pt x="2709" y="1492"/>
                    </a:lnTo>
                    <a:lnTo>
                      <a:pt x="2699" y="1492"/>
                    </a:lnTo>
                    <a:lnTo>
                      <a:pt x="2690" y="1492"/>
                    </a:lnTo>
                    <a:lnTo>
                      <a:pt x="2680" y="1490"/>
                    </a:lnTo>
                    <a:lnTo>
                      <a:pt x="2671" y="1488"/>
                    </a:lnTo>
                    <a:lnTo>
                      <a:pt x="2662" y="1485"/>
                    </a:lnTo>
                    <a:lnTo>
                      <a:pt x="2655" y="1481"/>
                    </a:lnTo>
                    <a:lnTo>
                      <a:pt x="2647" y="1477"/>
                    </a:lnTo>
                    <a:lnTo>
                      <a:pt x="2639" y="1471"/>
                    </a:lnTo>
                    <a:lnTo>
                      <a:pt x="2632" y="1465"/>
                    </a:lnTo>
                    <a:lnTo>
                      <a:pt x="2627" y="1458"/>
                    </a:lnTo>
                    <a:lnTo>
                      <a:pt x="2621" y="1451"/>
                    </a:lnTo>
                    <a:lnTo>
                      <a:pt x="2617" y="1443"/>
                    </a:lnTo>
                    <a:lnTo>
                      <a:pt x="2612" y="1435"/>
                    </a:lnTo>
                    <a:lnTo>
                      <a:pt x="2609" y="1426"/>
                    </a:lnTo>
                    <a:lnTo>
                      <a:pt x="2607" y="1417"/>
                    </a:lnTo>
                    <a:lnTo>
                      <a:pt x="2606" y="1408"/>
                    </a:lnTo>
                    <a:lnTo>
                      <a:pt x="2605" y="1398"/>
                    </a:lnTo>
                    <a:close/>
                    <a:moveTo>
                      <a:pt x="2605" y="1713"/>
                    </a:moveTo>
                    <a:lnTo>
                      <a:pt x="2605" y="1713"/>
                    </a:lnTo>
                    <a:lnTo>
                      <a:pt x="2606" y="1703"/>
                    </a:lnTo>
                    <a:lnTo>
                      <a:pt x="2607" y="1694"/>
                    </a:lnTo>
                    <a:lnTo>
                      <a:pt x="2609" y="1685"/>
                    </a:lnTo>
                    <a:lnTo>
                      <a:pt x="2612" y="1676"/>
                    </a:lnTo>
                    <a:lnTo>
                      <a:pt x="2617" y="1668"/>
                    </a:lnTo>
                    <a:lnTo>
                      <a:pt x="2621" y="1660"/>
                    </a:lnTo>
                    <a:lnTo>
                      <a:pt x="2627" y="1653"/>
                    </a:lnTo>
                    <a:lnTo>
                      <a:pt x="2632" y="1646"/>
                    </a:lnTo>
                    <a:lnTo>
                      <a:pt x="2639" y="1640"/>
                    </a:lnTo>
                    <a:lnTo>
                      <a:pt x="2647" y="1635"/>
                    </a:lnTo>
                    <a:lnTo>
                      <a:pt x="2655" y="1629"/>
                    </a:lnTo>
                    <a:lnTo>
                      <a:pt x="2662" y="1626"/>
                    </a:lnTo>
                    <a:lnTo>
                      <a:pt x="2671" y="1623"/>
                    </a:lnTo>
                    <a:lnTo>
                      <a:pt x="2680" y="1620"/>
                    </a:lnTo>
                    <a:lnTo>
                      <a:pt x="2690" y="1619"/>
                    </a:lnTo>
                    <a:lnTo>
                      <a:pt x="2699" y="1618"/>
                    </a:lnTo>
                    <a:lnTo>
                      <a:pt x="2709" y="1619"/>
                    </a:lnTo>
                    <a:lnTo>
                      <a:pt x="2719" y="1620"/>
                    </a:lnTo>
                    <a:lnTo>
                      <a:pt x="2728" y="1623"/>
                    </a:lnTo>
                    <a:lnTo>
                      <a:pt x="2736" y="1626"/>
                    </a:lnTo>
                    <a:lnTo>
                      <a:pt x="2745" y="1629"/>
                    </a:lnTo>
                    <a:lnTo>
                      <a:pt x="2753" y="1635"/>
                    </a:lnTo>
                    <a:lnTo>
                      <a:pt x="2759" y="1640"/>
                    </a:lnTo>
                    <a:lnTo>
                      <a:pt x="2767" y="1646"/>
                    </a:lnTo>
                    <a:lnTo>
                      <a:pt x="2773" y="1653"/>
                    </a:lnTo>
                    <a:lnTo>
                      <a:pt x="2778" y="1660"/>
                    </a:lnTo>
                    <a:lnTo>
                      <a:pt x="2783" y="1668"/>
                    </a:lnTo>
                    <a:lnTo>
                      <a:pt x="2787" y="1676"/>
                    </a:lnTo>
                    <a:lnTo>
                      <a:pt x="2790" y="1685"/>
                    </a:lnTo>
                    <a:lnTo>
                      <a:pt x="2793" y="1694"/>
                    </a:lnTo>
                    <a:lnTo>
                      <a:pt x="2794" y="1703"/>
                    </a:lnTo>
                    <a:lnTo>
                      <a:pt x="2794" y="1713"/>
                    </a:lnTo>
                    <a:lnTo>
                      <a:pt x="2794" y="1723"/>
                    </a:lnTo>
                    <a:lnTo>
                      <a:pt x="2793" y="1731"/>
                    </a:lnTo>
                    <a:lnTo>
                      <a:pt x="2790" y="1740"/>
                    </a:lnTo>
                    <a:lnTo>
                      <a:pt x="2787" y="1749"/>
                    </a:lnTo>
                    <a:lnTo>
                      <a:pt x="2783" y="1758"/>
                    </a:lnTo>
                    <a:lnTo>
                      <a:pt x="2778" y="1766"/>
                    </a:lnTo>
                    <a:lnTo>
                      <a:pt x="2773" y="1773"/>
                    </a:lnTo>
                    <a:lnTo>
                      <a:pt x="2767" y="1779"/>
                    </a:lnTo>
                    <a:lnTo>
                      <a:pt x="2759" y="1786"/>
                    </a:lnTo>
                    <a:lnTo>
                      <a:pt x="2753" y="1792"/>
                    </a:lnTo>
                    <a:lnTo>
                      <a:pt x="2745" y="1796"/>
                    </a:lnTo>
                    <a:lnTo>
                      <a:pt x="2736" y="1800"/>
                    </a:lnTo>
                    <a:lnTo>
                      <a:pt x="2728" y="1803"/>
                    </a:lnTo>
                    <a:lnTo>
                      <a:pt x="2719" y="1806"/>
                    </a:lnTo>
                    <a:lnTo>
                      <a:pt x="2709" y="1807"/>
                    </a:lnTo>
                    <a:lnTo>
                      <a:pt x="2699" y="1807"/>
                    </a:lnTo>
                    <a:lnTo>
                      <a:pt x="2690" y="1807"/>
                    </a:lnTo>
                    <a:lnTo>
                      <a:pt x="2680" y="1806"/>
                    </a:lnTo>
                    <a:lnTo>
                      <a:pt x="2671" y="1803"/>
                    </a:lnTo>
                    <a:lnTo>
                      <a:pt x="2662" y="1800"/>
                    </a:lnTo>
                    <a:lnTo>
                      <a:pt x="2655" y="1796"/>
                    </a:lnTo>
                    <a:lnTo>
                      <a:pt x="2647" y="1792"/>
                    </a:lnTo>
                    <a:lnTo>
                      <a:pt x="2639" y="1786"/>
                    </a:lnTo>
                    <a:lnTo>
                      <a:pt x="2632" y="1779"/>
                    </a:lnTo>
                    <a:lnTo>
                      <a:pt x="2627" y="1773"/>
                    </a:lnTo>
                    <a:lnTo>
                      <a:pt x="2621" y="1766"/>
                    </a:lnTo>
                    <a:lnTo>
                      <a:pt x="2617" y="1758"/>
                    </a:lnTo>
                    <a:lnTo>
                      <a:pt x="2612" y="1749"/>
                    </a:lnTo>
                    <a:lnTo>
                      <a:pt x="2609" y="1740"/>
                    </a:lnTo>
                    <a:lnTo>
                      <a:pt x="2607" y="1731"/>
                    </a:lnTo>
                    <a:lnTo>
                      <a:pt x="2606" y="1723"/>
                    </a:lnTo>
                    <a:lnTo>
                      <a:pt x="2605" y="1713"/>
                    </a:lnTo>
                    <a:close/>
                    <a:moveTo>
                      <a:pt x="2605" y="2027"/>
                    </a:moveTo>
                    <a:lnTo>
                      <a:pt x="2605" y="2027"/>
                    </a:lnTo>
                    <a:lnTo>
                      <a:pt x="2606" y="2018"/>
                    </a:lnTo>
                    <a:lnTo>
                      <a:pt x="2607" y="2008"/>
                    </a:lnTo>
                    <a:lnTo>
                      <a:pt x="2609" y="2000"/>
                    </a:lnTo>
                    <a:lnTo>
                      <a:pt x="2612" y="1991"/>
                    </a:lnTo>
                    <a:lnTo>
                      <a:pt x="2617" y="1983"/>
                    </a:lnTo>
                    <a:lnTo>
                      <a:pt x="2621" y="1975"/>
                    </a:lnTo>
                    <a:lnTo>
                      <a:pt x="2627" y="1967"/>
                    </a:lnTo>
                    <a:lnTo>
                      <a:pt x="2632" y="1961"/>
                    </a:lnTo>
                    <a:lnTo>
                      <a:pt x="2639" y="1955"/>
                    </a:lnTo>
                    <a:lnTo>
                      <a:pt x="2647" y="1949"/>
                    </a:lnTo>
                    <a:lnTo>
                      <a:pt x="2655" y="1945"/>
                    </a:lnTo>
                    <a:lnTo>
                      <a:pt x="2662" y="1941"/>
                    </a:lnTo>
                    <a:lnTo>
                      <a:pt x="2671" y="1937"/>
                    </a:lnTo>
                    <a:lnTo>
                      <a:pt x="2680" y="1935"/>
                    </a:lnTo>
                    <a:lnTo>
                      <a:pt x="2690" y="1934"/>
                    </a:lnTo>
                    <a:lnTo>
                      <a:pt x="2699" y="1933"/>
                    </a:lnTo>
                    <a:lnTo>
                      <a:pt x="2709" y="1934"/>
                    </a:lnTo>
                    <a:lnTo>
                      <a:pt x="2719" y="1935"/>
                    </a:lnTo>
                    <a:lnTo>
                      <a:pt x="2728" y="1937"/>
                    </a:lnTo>
                    <a:lnTo>
                      <a:pt x="2736" y="1941"/>
                    </a:lnTo>
                    <a:lnTo>
                      <a:pt x="2745" y="1945"/>
                    </a:lnTo>
                    <a:lnTo>
                      <a:pt x="2753" y="1949"/>
                    </a:lnTo>
                    <a:lnTo>
                      <a:pt x="2759" y="1955"/>
                    </a:lnTo>
                    <a:lnTo>
                      <a:pt x="2767" y="1961"/>
                    </a:lnTo>
                    <a:lnTo>
                      <a:pt x="2773" y="1967"/>
                    </a:lnTo>
                    <a:lnTo>
                      <a:pt x="2778" y="1975"/>
                    </a:lnTo>
                    <a:lnTo>
                      <a:pt x="2783" y="1983"/>
                    </a:lnTo>
                    <a:lnTo>
                      <a:pt x="2787" y="1991"/>
                    </a:lnTo>
                    <a:lnTo>
                      <a:pt x="2790" y="2000"/>
                    </a:lnTo>
                    <a:lnTo>
                      <a:pt x="2793" y="2008"/>
                    </a:lnTo>
                    <a:lnTo>
                      <a:pt x="2794" y="2018"/>
                    </a:lnTo>
                    <a:lnTo>
                      <a:pt x="2794" y="2027"/>
                    </a:lnTo>
                    <a:lnTo>
                      <a:pt x="2794" y="2037"/>
                    </a:lnTo>
                    <a:lnTo>
                      <a:pt x="2793" y="2046"/>
                    </a:lnTo>
                    <a:lnTo>
                      <a:pt x="2790" y="2056"/>
                    </a:lnTo>
                    <a:lnTo>
                      <a:pt x="2787" y="2064"/>
                    </a:lnTo>
                    <a:lnTo>
                      <a:pt x="2783" y="2073"/>
                    </a:lnTo>
                    <a:lnTo>
                      <a:pt x="2778" y="2081"/>
                    </a:lnTo>
                    <a:lnTo>
                      <a:pt x="2773" y="2087"/>
                    </a:lnTo>
                    <a:lnTo>
                      <a:pt x="2767" y="2094"/>
                    </a:lnTo>
                    <a:lnTo>
                      <a:pt x="2759" y="2101"/>
                    </a:lnTo>
                    <a:lnTo>
                      <a:pt x="2753" y="2106"/>
                    </a:lnTo>
                    <a:lnTo>
                      <a:pt x="2745" y="2111"/>
                    </a:lnTo>
                    <a:lnTo>
                      <a:pt x="2736" y="2115"/>
                    </a:lnTo>
                    <a:lnTo>
                      <a:pt x="2728" y="2118"/>
                    </a:lnTo>
                    <a:lnTo>
                      <a:pt x="2719" y="2121"/>
                    </a:lnTo>
                    <a:lnTo>
                      <a:pt x="2709" y="2122"/>
                    </a:lnTo>
                    <a:lnTo>
                      <a:pt x="2699" y="2122"/>
                    </a:lnTo>
                    <a:lnTo>
                      <a:pt x="2690" y="2122"/>
                    </a:lnTo>
                    <a:lnTo>
                      <a:pt x="2680" y="2121"/>
                    </a:lnTo>
                    <a:lnTo>
                      <a:pt x="2671" y="2118"/>
                    </a:lnTo>
                    <a:lnTo>
                      <a:pt x="2662" y="2115"/>
                    </a:lnTo>
                    <a:lnTo>
                      <a:pt x="2655" y="2111"/>
                    </a:lnTo>
                    <a:lnTo>
                      <a:pt x="2647" y="2106"/>
                    </a:lnTo>
                    <a:lnTo>
                      <a:pt x="2639" y="2101"/>
                    </a:lnTo>
                    <a:lnTo>
                      <a:pt x="2632" y="2094"/>
                    </a:lnTo>
                    <a:lnTo>
                      <a:pt x="2627" y="2087"/>
                    </a:lnTo>
                    <a:lnTo>
                      <a:pt x="2621" y="2081"/>
                    </a:lnTo>
                    <a:lnTo>
                      <a:pt x="2617" y="2073"/>
                    </a:lnTo>
                    <a:lnTo>
                      <a:pt x="2612" y="2064"/>
                    </a:lnTo>
                    <a:lnTo>
                      <a:pt x="2609" y="2056"/>
                    </a:lnTo>
                    <a:lnTo>
                      <a:pt x="2607" y="2046"/>
                    </a:lnTo>
                    <a:lnTo>
                      <a:pt x="2606" y="2037"/>
                    </a:lnTo>
                    <a:lnTo>
                      <a:pt x="2605" y="2027"/>
                    </a:lnTo>
                    <a:close/>
                    <a:moveTo>
                      <a:pt x="2605" y="2342"/>
                    </a:moveTo>
                    <a:lnTo>
                      <a:pt x="2605" y="2342"/>
                    </a:lnTo>
                    <a:lnTo>
                      <a:pt x="2606" y="2333"/>
                    </a:lnTo>
                    <a:lnTo>
                      <a:pt x="2607" y="2323"/>
                    </a:lnTo>
                    <a:lnTo>
                      <a:pt x="2609" y="2314"/>
                    </a:lnTo>
                    <a:lnTo>
                      <a:pt x="2612" y="2305"/>
                    </a:lnTo>
                    <a:lnTo>
                      <a:pt x="2617" y="2298"/>
                    </a:lnTo>
                    <a:lnTo>
                      <a:pt x="2621" y="2290"/>
                    </a:lnTo>
                    <a:lnTo>
                      <a:pt x="2627" y="2282"/>
                    </a:lnTo>
                    <a:lnTo>
                      <a:pt x="2632" y="2275"/>
                    </a:lnTo>
                    <a:lnTo>
                      <a:pt x="2639" y="2270"/>
                    </a:lnTo>
                    <a:lnTo>
                      <a:pt x="2647" y="2264"/>
                    </a:lnTo>
                    <a:lnTo>
                      <a:pt x="2655" y="2260"/>
                    </a:lnTo>
                    <a:lnTo>
                      <a:pt x="2662" y="2255"/>
                    </a:lnTo>
                    <a:lnTo>
                      <a:pt x="2671" y="2252"/>
                    </a:lnTo>
                    <a:lnTo>
                      <a:pt x="2680" y="2250"/>
                    </a:lnTo>
                    <a:lnTo>
                      <a:pt x="2690" y="2249"/>
                    </a:lnTo>
                    <a:lnTo>
                      <a:pt x="2699" y="2247"/>
                    </a:lnTo>
                    <a:lnTo>
                      <a:pt x="2709" y="2249"/>
                    </a:lnTo>
                    <a:lnTo>
                      <a:pt x="2719" y="2250"/>
                    </a:lnTo>
                    <a:lnTo>
                      <a:pt x="2728" y="2252"/>
                    </a:lnTo>
                    <a:lnTo>
                      <a:pt x="2736" y="2255"/>
                    </a:lnTo>
                    <a:lnTo>
                      <a:pt x="2745" y="2260"/>
                    </a:lnTo>
                    <a:lnTo>
                      <a:pt x="2753" y="2264"/>
                    </a:lnTo>
                    <a:lnTo>
                      <a:pt x="2759" y="2270"/>
                    </a:lnTo>
                    <a:lnTo>
                      <a:pt x="2767" y="2275"/>
                    </a:lnTo>
                    <a:lnTo>
                      <a:pt x="2773" y="2282"/>
                    </a:lnTo>
                    <a:lnTo>
                      <a:pt x="2778" y="2290"/>
                    </a:lnTo>
                    <a:lnTo>
                      <a:pt x="2783" y="2298"/>
                    </a:lnTo>
                    <a:lnTo>
                      <a:pt x="2787" y="2305"/>
                    </a:lnTo>
                    <a:lnTo>
                      <a:pt x="2790" y="2314"/>
                    </a:lnTo>
                    <a:lnTo>
                      <a:pt x="2793" y="2323"/>
                    </a:lnTo>
                    <a:lnTo>
                      <a:pt x="2794" y="2333"/>
                    </a:lnTo>
                    <a:lnTo>
                      <a:pt x="2794" y="2342"/>
                    </a:lnTo>
                    <a:lnTo>
                      <a:pt x="2794" y="2352"/>
                    </a:lnTo>
                    <a:lnTo>
                      <a:pt x="2793" y="2362"/>
                    </a:lnTo>
                    <a:lnTo>
                      <a:pt x="2790" y="2371"/>
                    </a:lnTo>
                    <a:lnTo>
                      <a:pt x="2787" y="2380"/>
                    </a:lnTo>
                    <a:lnTo>
                      <a:pt x="2783" y="2388"/>
                    </a:lnTo>
                    <a:lnTo>
                      <a:pt x="2778" y="2395"/>
                    </a:lnTo>
                    <a:lnTo>
                      <a:pt x="2773" y="2403"/>
                    </a:lnTo>
                    <a:lnTo>
                      <a:pt x="2767" y="2410"/>
                    </a:lnTo>
                    <a:lnTo>
                      <a:pt x="2759" y="2415"/>
                    </a:lnTo>
                    <a:lnTo>
                      <a:pt x="2753" y="2421"/>
                    </a:lnTo>
                    <a:lnTo>
                      <a:pt x="2745" y="2425"/>
                    </a:lnTo>
                    <a:lnTo>
                      <a:pt x="2736" y="2430"/>
                    </a:lnTo>
                    <a:lnTo>
                      <a:pt x="2728" y="2433"/>
                    </a:lnTo>
                    <a:lnTo>
                      <a:pt x="2719" y="2435"/>
                    </a:lnTo>
                    <a:lnTo>
                      <a:pt x="2709" y="2437"/>
                    </a:lnTo>
                    <a:lnTo>
                      <a:pt x="2699" y="2438"/>
                    </a:lnTo>
                    <a:lnTo>
                      <a:pt x="2690" y="2437"/>
                    </a:lnTo>
                    <a:lnTo>
                      <a:pt x="2680" y="2435"/>
                    </a:lnTo>
                    <a:lnTo>
                      <a:pt x="2671" y="2433"/>
                    </a:lnTo>
                    <a:lnTo>
                      <a:pt x="2662" y="2430"/>
                    </a:lnTo>
                    <a:lnTo>
                      <a:pt x="2655" y="2425"/>
                    </a:lnTo>
                    <a:lnTo>
                      <a:pt x="2647" y="2421"/>
                    </a:lnTo>
                    <a:lnTo>
                      <a:pt x="2639" y="2415"/>
                    </a:lnTo>
                    <a:lnTo>
                      <a:pt x="2632" y="2410"/>
                    </a:lnTo>
                    <a:lnTo>
                      <a:pt x="2627" y="2403"/>
                    </a:lnTo>
                    <a:lnTo>
                      <a:pt x="2621" y="2395"/>
                    </a:lnTo>
                    <a:lnTo>
                      <a:pt x="2617" y="2388"/>
                    </a:lnTo>
                    <a:lnTo>
                      <a:pt x="2612" y="2380"/>
                    </a:lnTo>
                    <a:lnTo>
                      <a:pt x="2609" y="2371"/>
                    </a:lnTo>
                    <a:lnTo>
                      <a:pt x="2607" y="2362"/>
                    </a:lnTo>
                    <a:lnTo>
                      <a:pt x="2606" y="2352"/>
                    </a:lnTo>
                    <a:lnTo>
                      <a:pt x="2605" y="2342"/>
                    </a:lnTo>
                    <a:close/>
                    <a:moveTo>
                      <a:pt x="2605" y="2658"/>
                    </a:moveTo>
                    <a:lnTo>
                      <a:pt x="2605" y="2658"/>
                    </a:lnTo>
                    <a:lnTo>
                      <a:pt x="2606" y="2648"/>
                    </a:lnTo>
                    <a:lnTo>
                      <a:pt x="2607" y="2638"/>
                    </a:lnTo>
                    <a:lnTo>
                      <a:pt x="2609" y="2629"/>
                    </a:lnTo>
                    <a:lnTo>
                      <a:pt x="2612" y="2621"/>
                    </a:lnTo>
                    <a:lnTo>
                      <a:pt x="2617" y="2612"/>
                    </a:lnTo>
                    <a:lnTo>
                      <a:pt x="2621" y="2604"/>
                    </a:lnTo>
                    <a:lnTo>
                      <a:pt x="2627" y="2598"/>
                    </a:lnTo>
                    <a:lnTo>
                      <a:pt x="2632" y="2590"/>
                    </a:lnTo>
                    <a:lnTo>
                      <a:pt x="2639" y="2584"/>
                    </a:lnTo>
                    <a:lnTo>
                      <a:pt x="2647" y="2579"/>
                    </a:lnTo>
                    <a:lnTo>
                      <a:pt x="2655" y="2574"/>
                    </a:lnTo>
                    <a:lnTo>
                      <a:pt x="2662" y="2570"/>
                    </a:lnTo>
                    <a:lnTo>
                      <a:pt x="2671" y="2567"/>
                    </a:lnTo>
                    <a:lnTo>
                      <a:pt x="2680" y="2564"/>
                    </a:lnTo>
                    <a:lnTo>
                      <a:pt x="2690" y="2563"/>
                    </a:lnTo>
                    <a:lnTo>
                      <a:pt x="2699" y="2563"/>
                    </a:lnTo>
                    <a:lnTo>
                      <a:pt x="2709" y="2563"/>
                    </a:lnTo>
                    <a:lnTo>
                      <a:pt x="2719" y="2564"/>
                    </a:lnTo>
                    <a:lnTo>
                      <a:pt x="2728" y="2567"/>
                    </a:lnTo>
                    <a:lnTo>
                      <a:pt x="2736" y="2570"/>
                    </a:lnTo>
                    <a:lnTo>
                      <a:pt x="2745" y="2574"/>
                    </a:lnTo>
                    <a:lnTo>
                      <a:pt x="2753" y="2579"/>
                    </a:lnTo>
                    <a:lnTo>
                      <a:pt x="2759" y="2584"/>
                    </a:lnTo>
                    <a:lnTo>
                      <a:pt x="2767" y="2590"/>
                    </a:lnTo>
                    <a:lnTo>
                      <a:pt x="2773" y="2598"/>
                    </a:lnTo>
                    <a:lnTo>
                      <a:pt x="2778" y="2604"/>
                    </a:lnTo>
                    <a:lnTo>
                      <a:pt x="2783" y="2612"/>
                    </a:lnTo>
                    <a:lnTo>
                      <a:pt x="2787" y="2621"/>
                    </a:lnTo>
                    <a:lnTo>
                      <a:pt x="2790" y="2629"/>
                    </a:lnTo>
                    <a:lnTo>
                      <a:pt x="2793" y="2638"/>
                    </a:lnTo>
                    <a:lnTo>
                      <a:pt x="2794" y="2648"/>
                    </a:lnTo>
                    <a:lnTo>
                      <a:pt x="2794" y="2658"/>
                    </a:lnTo>
                    <a:lnTo>
                      <a:pt x="2794" y="2667"/>
                    </a:lnTo>
                    <a:lnTo>
                      <a:pt x="2793" y="2677"/>
                    </a:lnTo>
                    <a:lnTo>
                      <a:pt x="2790" y="2686"/>
                    </a:lnTo>
                    <a:lnTo>
                      <a:pt x="2787" y="2695"/>
                    </a:lnTo>
                    <a:lnTo>
                      <a:pt x="2783" y="2702"/>
                    </a:lnTo>
                    <a:lnTo>
                      <a:pt x="2778" y="2710"/>
                    </a:lnTo>
                    <a:lnTo>
                      <a:pt x="2773" y="2718"/>
                    </a:lnTo>
                    <a:lnTo>
                      <a:pt x="2767" y="2725"/>
                    </a:lnTo>
                    <a:lnTo>
                      <a:pt x="2759" y="2730"/>
                    </a:lnTo>
                    <a:lnTo>
                      <a:pt x="2753" y="2736"/>
                    </a:lnTo>
                    <a:lnTo>
                      <a:pt x="2745" y="2740"/>
                    </a:lnTo>
                    <a:lnTo>
                      <a:pt x="2736" y="2745"/>
                    </a:lnTo>
                    <a:lnTo>
                      <a:pt x="2728" y="2748"/>
                    </a:lnTo>
                    <a:lnTo>
                      <a:pt x="2719" y="2750"/>
                    </a:lnTo>
                    <a:lnTo>
                      <a:pt x="2709" y="2751"/>
                    </a:lnTo>
                    <a:lnTo>
                      <a:pt x="2699" y="2752"/>
                    </a:lnTo>
                    <a:lnTo>
                      <a:pt x="2690" y="2751"/>
                    </a:lnTo>
                    <a:lnTo>
                      <a:pt x="2680" y="2750"/>
                    </a:lnTo>
                    <a:lnTo>
                      <a:pt x="2671" y="2748"/>
                    </a:lnTo>
                    <a:lnTo>
                      <a:pt x="2662" y="2745"/>
                    </a:lnTo>
                    <a:lnTo>
                      <a:pt x="2655" y="2740"/>
                    </a:lnTo>
                    <a:lnTo>
                      <a:pt x="2647" y="2736"/>
                    </a:lnTo>
                    <a:lnTo>
                      <a:pt x="2639" y="2730"/>
                    </a:lnTo>
                    <a:lnTo>
                      <a:pt x="2632" y="2725"/>
                    </a:lnTo>
                    <a:lnTo>
                      <a:pt x="2627" y="2718"/>
                    </a:lnTo>
                    <a:lnTo>
                      <a:pt x="2621" y="2710"/>
                    </a:lnTo>
                    <a:lnTo>
                      <a:pt x="2617" y="2702"/>
                    </a:lnTo>
                    <a:lnTo>
                      <a:pt x="2612" y="2695"/>
                    </a:lnTo>
                    <a:lnTo>
                      <a:pt x="2609" y="2686"/>
                    </a:lnTo>
                    <a:lnTo>
                      <a:pt x="2607" y="2677"/>
                    </a:lnTo>
                    <a:lnTo>
                      <a:pt x="2606" y="2667"/>
                    </a:lnTo>
                    <a:lnTo>
                      <a:pt x="2605" y="2658"/>
                    </a:lnTo>
                    <a:close/>
                    <a:moveTo>
                      <a:pt x="2605" y="2973"/>
                    </a:moveTo>
                    <a:lnTo>
                      <a:pt x="2605" y="2973"/>
                    </a:lnTo>
                    <a:lnTo>
                      <a:pt x="2606" y="2963"/>
                    </a:lnTo>
                    <a:lnTo>
                      <a:pt x="2607" y="2954"/>
                    </a:lnTo>
                    <a:lnTo>
                      <a:pt x="2609" y="2944"/>
                    </a:lnTo>
                    <a:lnTo>
                      <a:pt x="2612" y="2936"/>
                    </a:lnTo>
                    <a:lnTo>
                      <a:pt x="2617" y="2927"/>
                    </a:lnTo>
                    <a:lnTo>
                      <a:pt x="2621" y="2919"/>
                    </a:lnTo>
                    <a:lnTo>
                      <a:pt x="2627" y="2913"/>
                    </a:lnTo>
                    <a:lnTo>
                      <a:pt x="2632" y="2906"/>
                    </a:lnTo>
                    <a:lnTo>
                      <a:pt x="2639" y="2899"/>
                    </a:lnTo>
                    <a:lnTo>
                      <a:pt x="2647" y="2894"/>
                    </a:lnTo>
                    <a:lnTo>
                      <a:pt x="2655" y="2889"/>
                    </a:lnTo>
                    <a:lnTo>
                      <a:pt x="2662" y="2885"/>
                    </a:lnTo>
                    <a:lnTo>
                      <a:pt x="2671" y="2882"/>
                    </a:lnTo>
                    <a:lnTo>
                      <a:pt x="2680" y="2879"/>
                    </a:lnTo>
                    <a:lnTo>
                      <a:pt x="2690" y="2878"/>
                    </a:lnTo>
                    <a:lnTo>
                      <a:pt x="2699" y="2878"/>
                    </a:lnTo>
                    <a:lnTo>
                      <a:pt x="2709" y="2878"/>
                    </a:lnTo>
                    <a:lnTo>
                      <a:pt x="2719" y="2879"/>
                    </a:lnTo>
                    <a:lnTo>
                      <a:pt x="2728" y="2882"/>
                    </a:lnTo>
                    <a:lnTo>
                      <a:pt x="2736" y="2885"/>
                    </a:lnTo>
                    <a:lnTo>
                      <a:pt x="2745" y="2889"/>
                    </a:lnTo>
                    <a:lnTo>
                      <a:pt x="2753" y="2894"/>
                    </a:lnTo>
                    <a:lnTo>
                      <a:pt x="2759" y="2899"/>
                    </a:lnTo>
                    <a:lnTo>
                      <a:pt x="2767" y="2906"/>
                    </a:lnTo>
                    <a:lnTo>
                      <a:pt x="2773" y="2913"/>
                    </a:lnTo>
                    <a:lnTo>
                      <a:pt x="2778" y="2919"/>
                    </a:lnTo>
                    <a:lnTo>
                      <a:pt x="2783" y="2927"/>
                    </a:lnTo>
                    <a:lnTo>
                      <a:pt x="2787" y="2936"/>
                    </a:lnTo>
                    <a:lnTo>
                      <a:pt x="2790" y="2944"/>
                    </a:lnTo>
                    <a:lnTo>
                      <a:pt x="2793" y="2954"/>
                    </a:lnTo>
                    <a:lnTo>
                      <a:pt x="2794" y="2963"/>
                    </a:lnTo>
                    <a:lnTo>
                      <a:pt x="2794" y="2973"/>
                    </a:lnTo>
                    <a:lnTo>
                      <a:pt x="2794" y="2981"/>
                    </a:lnTo>
                    <a:lnTo>
                      <a:pt x="2793" y="2991"/>
                    </a:lnTo>
                    <a:lnTo>
                      <a:pt x="2790" y="3000"/>
                    </a:lnTo>
                    <a:lnTo>
                      <a:pt x="2787" y="3009"/>
                    </a:lnTo>
                    <a:lnTo>
                      <a:pt x="2783" y="3017"/>
                    </a:lnTo>
                    <a:lnTo>
                      <a:pt x="2778" y="3025"/>
                    </a:lnTo>
                    <a:lnTo>
                      <a:pt x="2773" y="3033"/>
                    </a:lnTo>
                    <a:lnTo>
                      <a:pt x="2767" y="3039"/>
                    </a:lnTo>
                    <a:lnTo>
                      <a:pt x="2759" y="3045"/>
                    </a:lnTo>
                    <a:lnTo>
                      <a:pt x="2753" y="3050"/>
                    </a:lnTo>
                    <a:lnTo>
                      <a:pt x="2745" y="3056"/>
                    </a:lnTo>
                    <a:lnTo>
                      <a:pt x="2736" y="3059"/>
                    </a:lnTo>
                    <a:lnTo>
                      <a:pt x="2728" y="3063"/>
                    </a:lnTo>
                    <a:lnTo>
                      <a:pt x="2719" y="3065"/>
                    </a:lnTo>
                    <a:lnTo>
                      <a:pt x="2709" y="3066"/>
                    </a:lnTo>
                    <a:lnTo>
                      <a:pt x="2699" y="3067"/>
                    </a:lnTo>
                    <a:lnTo>
                      <a:pt x="2690" y="3066"/>
                    </a:lnTo>
                    <a:lnTo>
                      <a:pt x="2680" y="3065"/>
                    </a:lnTo>
                    <a:lnTo>
                      <a:pt x="2671" y="3063"/>
                    </a:lnTo>
                    <a:lnTo>
                      <a:pt x="2662" y="3059"/>
                    </a:lnTo>
                    <a:lnTo>
                      <a:pt x="2655" y="3056"/>
                    </a:lnTo>
                    <a:lnTo>
                      <a:pt x="2647" y="3050"/>
                    </a:lnTo>
                    <a:lnTo>
                      <a:pt x="2639" y="3045"/>
                    </a:lnTo>
                    <a:lnTo>
                      <a:pt x="2632" y="3039"/>
                    </a:lnTo>
                    <a:lnTo>
                      <a:pt x="2627" y="3033"/>
                    </a:lnTo>
                    <a:lnTo>
                      <a:pt x="2621" y="3025"/>
                    </a:lnTo>
                    <a:lnTo>
                      <a:pt x="2617" y="3017"/>
                    </a:lnTo>
                    <a:lnTo>
                      <a:pt x="2612" y="3009"/>
                    </a:lnTo>
                    <a:lnTo>
                      <a:pt x="2609" y="3000"/>
                    </a:lnTo>
                    <a:lnTo>
                      <a:pt x="2607" y="2991"/>
                    </a:lnTo>
                    <a:lnTo>
                      <a:pt x="2606" y="2981"/>
                    </a:lnTo>
                    <a:lnTo>
                      <a:pt x="2605" y="2973"/>
                    </a:lnTo>
                    <a:close/>
                    <a:moveTo>
                      <a:pt x="2605" y="3287"/>
                    </a:moveTo>
                    <a:lnTo>
                      <a:pt x="2605" y="3287"/>
                    </a:lnTo>
                    <a:lnTo>
                      <a:pt x="2606" y="3277"/>
                    </a:lnTo>
                    <a:lnTo>
                      <a:pt x="2607" y="3268"/>
                    </a:lnTo>
                    <a:lnTo>
                      <a:pt x="2609" y="3259"/>
                    </a:lnTo>
                    <a:lnTo>
                      <a:pt x="2612" y="3251"/>
                    </a:lnTo>
                    <a:lnTo>
                      <a:pt x="2617" y="3242"/>
                    </a:lnTo>
                    <a:lnTo>
                      <a:pt x="2621" y="3234"/>
                    </a:lnTo>
                    <a:lnTo>
                      <a:pt x="2627" y="3227"/>
                    </a:lnTo>
                    <a:lnTo>
                      <a:pt x="2632" y="3221"/>
                    </a:lnTo>
                    <a:lnTo>
                      <a:pt x="2639" y="3214"/>
                    </a:lnTo>
                    <a:lnTo>
                      <a:pt x="2647" y="3208"/>
                    </a:lnTo>
                    <a:lnTo>
                      <a:pt x="2655" y="3204"/>
                    </a:lnTo>
                    <a:lnTo>
                      <a:pt x="2662" y="3201"/>
                    </a:lnTo>
                    <a:lnTo>
                      <a:pt x="2671" y="3197"/>
                    </a:lnTo>
                    <a:lnTo>
                      <a:pt x="2680" y="3195"/>
                    </a:lnTo>
                    <a:lnTo>
                      <a:pt x="2690" y="3193"/>
                    </a:lnTo>
                    <a:lnTo>
                      <a:pt x="2699" y="3193"/>
                    </a:lnTo>
                    <a:lnTo>
                      <a:pt x="2709" y="3193"/>
                    </a:lnTo>
                    <a:lnTo>
                      <a:pt x="2719" y="3195"/>
                    </a:lnTo>
                    <a:lnTo>
                      <a:pt x="2728" y="3197"/>
                    </a:lnTo>
                    <a:lnTo>
                      <a:pt x="2736" y="3201"/>
                    </a:lnTo>
                    <a:lnTo>
                      <a:pt x="2745" y="3204"/>
                    </a:lnTo>
                    <a:lnTo>
                      <a:pt x="2753" y="3208"/>
                    </a:lnTo>
                    <a:lnTo>
                      <a:pt x="2759" y="3214"/>
                    </a:lnTo>
                    <a:lnTo>
                      <a:pt x="2767" y="3221"/>
                    </a:lnTo>
                    <a:lnTo>
                      <a:pt x="2773" y="3227"/>
                    </a:lnTo>
                    <a:lnTo>
                      <a:pt x="2778" y="3234"/>
                    </a:lnTo>
                    <a:lnTo>
                      <a:pt x="2783" y="3242"/>
                    </a:lnTo>
                    <a:lnTo>
                      <a:pt x="2787" y="3251"/>
                    </a:lnTo>
                    <a:lnTo>
                      <a:pt x="2790" y="3259"/>
                    </a:lnTo>
                    <a:lnTo>
                      <a:pt x="2793" y="3268"/>
                    </a:lnTo>
                    <a:lnTo>
                      <a:pt x="2794" y="3277"/>
                    </a:lnTo>
                    <a:lnTo>
                      <a:pt x="2794" y="3287"/>
                    </a:lnTo>
                    <a:lnTo>
                      <a:pt x="2794" y="3297"/>
                    </a:lnTo>
                    <a:lnTo>
                      <a:pt x="2793" y="3306"/>
                    </a:lnTo>
                    <a:lnTo>
                      <a:pt x="2790" y="3315"/>
                    </a:lnTo>
                    <a:lnTo>
                      <a:pt x="2787" y="3324"/>
                    </a:lnTo>
                    <a:lnTo>
                      <a:pt x="2783" y="3332"/>
                    </a:lnTo>
                    <a:lnTo>
                      <a:pt x="2778" y="3340"/>
                    </a:lnTo>
                    <a:lnTo>
                      <a:pt x="2773" y="3347"/>
                    </a:lnTo>
                    <a:lnTo>
                      <a:pt x="2767" y="3354"/>
                    </a:lnTo>
                    <a:lnTo>
                      <a:pt x="2759" y="3361"/>
                    </a:lnTo>
                    <a:lnTo>
                      <a:pt x="2753" y="3365"/>
                    </a:lnTo>
                    <a:lnTo>
                      <a:pt x="2745" y="3371"/>
                    </a:lnTo>
                    <a:lnTo>
                      <a:pt x="2736" y="3374"/>
                    </a:lnTo>
                    <a:lnTo>
                      <a:pt x="2728" y="3377"/>
                    </a:lnTo>
                    <a:lnTo>
                      <a:pt x="2719" y="3380"/>
                    </a:lnTo>
                    <a:lnTo>
                      <a:pt x="2709" y="3382"/>
                    </a:lnTo>
                    <a:lnTo>
                      <a:pt x="2699" y="3382"/>
                    </a:lnTo>
                    <a:lnTo>
                      <a:pt x="2690" y="3382"/>
                    </a:lnTo>
                    <a:lnTo>
                      <a:pt x="2680" y="3380"/>
                    </a:lnTo>
                    <a:lnTo>
                      <a:pt x="2671" y="3377"/>
                    </a:lnTo>
                    <a:lnTo>
                      <a:pt x="2662" y="3374"/>
                    </a:lnTo>
                    <a:lnTo>
                      <a:pt x="2655" y="3371"/>
                    </a:lnTo>
                    <a:lnTo>
                      <a:pt x="2647" y="3365"/>
                    </a:lnTo>
                    <a:lnTo>
                      <a:pt x="2639" y="3361"/>
                    </a:lnTo>
                    <a:lnTo>
                      <a:pt x="2632" y="3354"/>
                    </a:lnTo>
                    <a:lnTo>
                      <a:pt x="2627" y="3347"/>
                    </a:lnTo>
                    <a:lnTo>
                      <a:pt x="2621" y="3340"/>
                    </a:lnTo>
                    <a:lnTo>
                      <a:pt x="2617" y="3332"/>
                    </a:lnTo>
                    <a:lnTo>
                      <a:pt x="2612" y="3324"/>
                    </a:lnTo>
                    <a:lnTo>
                      <a:pt x="2609" y="3315"/>
                    </a:lnTo>
                    <a:lnTo>
                      <a:pt x="2607" y="3306"/>
                    </a:lnTo>
                    <a:lnTo>
                      <a:pt x="2606" y="3297"/>
                    </a:lnTo>
                    <a:lnTo>
                      <a:pt x="2605" y="3287"/>
                    </a:lnTo>
                    <a:close/>
                    <a:moveTo>
                      <a:pt x="2605" y="3602"/>
                    </a:moveTo>
                    <a:lnTo>
                      <a:pt x="2605" y="3602"/>
                    </a:lnTo>
                    <a:lnTo>
                      <a:pt x="2606" y="3592"/>
                    </a:lnTo>
                    <a:lnTo>
                      <a:pt x="2607" y="3583"/>
                    </a:lnTo>
                    <a:lnTo>
                      <a:pt x="2609" y="3574"/>
                    </a:lnTo>
                    <a:lnTo>
                      <a:pt x="2612" y="3565"/>
                    </a:lnTo>
                    <a:lnTo>
                      <a:pt x="2617" y="3558"/>
                    </a:lnTo>
                    <a:lnTo>
                      <a:pt x="2621" y="3550"/>
                    </a:lnTo>
                    <a:lnTo>
                      <a:pt x="2627" y="3542"/>
                    </a:lnTo>
                    <a:lnTo>
                      <a:pt x="2632" y="3535"/>
                    </a:lnTo>
                    <a:lnTo>
                      <a:pt x="2639" y="3529"/>
                    </a:lnTo>
                    <a:lnTo>
                      <a:pt x="2647" y="3524"/>
                    </a:lnTo>
                    <a:lnTo>
                      <a:pt x="2655" y="3519"/>
                    </a:lnTo>
                    <a:lnTo>
                      <a:pt x="2662" y="3515"/>
                    </a:lnTo>
                    <a:lnTo>
                      <a:pt x="2671" y="3512"/>
                    </a:lnTo>
                    <a:lnTo>
                      <a:pt x="2680" y="3510"/>
                    </a:lnTo>
                    <a:lnTo>
                      <a:pt x="2690" y="3507"/>
                    </a:lnTo>
                    <a:lnTo>
                      <a:pt x="2699" y="3507"/>
                    </a:lnTo>
                    <a:lnTo>
                      <a:pt x="2709" y="3507"/>
                    </a:lnTo>
                    <a:lnTo>
                      <a:pt x="2719" y="3510"/>
                    </a:lnTo>
                    <a:lnTo>
                      <a:pt x="2728" y="3512"/>
                    </a:lnTo>
                    <a:lnTo>
                      <a:pt x="2736" y="3515"/>
                    </a:lnTo>
                    <a:lnTo>
                      <a:pt x="2745" y="3519"/>
                    </a:lnTo>
                    <a:lnTo>
                      <a:pt x="2753" y="3524"/>
                    </a:lnTo>
                    <a:lnTo>
                      <a:pt x="2759" y="3529"/>
                    </a:lnTo>
                    <a:lnTo>
                      <a:pt x="2767" y="3535"/>
                    </a:lnTo>
                    <a:lnTo>
                      <a:pt x="2773" y="3542"/>
                    </a:lnTo>
                    <a:lnTo>
                      <a:pt x="2778" y="3550"/>
                    </a:lnTo>
                    <a:lnTo>
                      <a:pt x="2783" y="3558"/>
                    </a:lnTo>
                    <a:lnTo>
                      <a:pt x="2787" y="3565"/>
                    </a:lnTo>
                    <a:lnTo>
                      <a:pt x="2790" y="3574"/>
                    </a:lnTo>
                    <a:lnTo>
                      <a:pt x="2793" y="3583"/>
                    </a:lnTo>
                    <a:lnTo>
                      <a:pt x="2794" y="3592"/>
                    </a:lnTo>
                    <a:lnTo>
                      <a:pt x="2794" y="3602"/>
                    </a:lnTo>
                    <a:lnTo>
                      <a:pt x="2794" y="3612"/>
                    </a:lnTo>
                    <a:lnTo>
                      <a:pt x="2793" y="3621"/>
                    </a:lnTo>
                    <a:lnTo>
                      <a:pt x="2790" y="3630"/>
                    </a:lnTo>
                    <a:lnTo>
                      <a:pt x="2787" y="3639"/>
                    </a:lnTo>
                    <a:lnTo>
                      <a:pt x="2783" y="3648"/>
                    </a:lnTo>
                    <a:lnTo>
                      <a:pt x="2778" y="3655"/>
                    </a:lnTo>
                    <a:lnTo>
                      <a:pt x="2773" y="3662"/>
                    </a:lnTo>
                    <a:lnTo>
                      <a:pt x="2767" y="3669"/>
                    </a:lnTo>
                    <a:lnTo>
                      <a:pt x="2759" y="3675"/>
                    </a:lnTo>
                    <a:lnTo>
                      <a:pt x="2753" y="3681"/>
                    </a:lnTo>
                    <a:lnTo>
                      <a:pt x="2745" y="3685"/>
                    </a:lnTo>
                    <a:lnTo>
                      <a:pt x="2736" y="3689"/>
                    </a:lnTo>
                    <a:lnTo>
                      <a:pt x="2728" y="3692"/>
                    </a:lnTo>
                    <a:lnTo>
                      <a:pt x="2719" y="3694"/>
                    </a:lnTo>
                    <a:lnTo>
                      <a:pt x="2709" y="3697"/>
                    </a:lnTo>
                    <a:lnTo>
                      <a:pt x="2699" y="3697"/>
                    </a:lnTo>
                    <a:lnTo>
                      <a:pt x="2690" y="3697"/>
                    </a:lnTo>
                    <a:lnTo>
                      <a:pt x="2680" y="3694"/>
                    </a:lnTo>
                    <a:lnTo>
                      <a:pt x="2671" y="3692"/>
                    </a:lnTo>
                    <a:lnTo>
                      <a:pt x="2662" y="3689"/>
                    </a:lnTo>
                    <a:lnTo>
                      <a:pt x="2655" y="3685"/>
                    </a:lnTo>
                    <a:lnTo>
                      <a:pt x="2647" y="3681"/>
                    </a:lnTo>
                    <a:lnTo>
                      <a:pt x="2639" y="3675"/>
                    </a:lnTo>
                    <a:lnTo>
                      <a:pt x="2632" y="3669"/>
                    </a:lnTo>
                    <a:lnTo>
                      <a:pt x="2627" y="3662"/>
                    </a:lnTo>
                    <a:lnTo>
                      <a:pt x="2621" y="3655"/>
                    </a:lnTo>
                    <a:lnTo>
                      <a:pt x="2617" y="3648"/>
                    </a:lnTo>
                    <a:lnTo>
                      <a:pt x="2612" y="3639"/>
                    </a:lnTo>
                    <a:lnTo>
                      <a:pt x="2609" y="3630"/>
                    </a:lnTo>
                    <a:lnTo>
                      <a:pt x="2607" y="3621"/>
                    </a:lnTo>
                    <a:lnTo>
                      <a:pt x="2606" y="3612"/>
                    </a:lnTo>
                    <a:lnTo>
                      <a:pt x="2605" y="3602"/>
                    </a:lnTo>
                    <a:close/>
                    <a:moveTo>
                      <a:pt x="2605" y="3917"/>
                    </a:moveTo>
                    <a:lnTo>
                      <a:pt x="2605" y="3917"/>
                    </a:lnTo>
                    <a:lnTo>
                      <a:pt x="2606" y="3908"/>
                    </a:lnTo>
                    <a:lnTo>
                      <a:pt x="2607" y="3898"/>
                    </a:lnTo>
                    <a:lnTo>
                      <a:pt x="2609" y="3889"/>
                    </a:lnTo>
                    <a:lnTo>
                      <a:pt x="2612" y="3880"/>
                    </a:lnTo>
                    <a:lnTo>
                      <a:pt x="2617" y="3872"/>
                    </a:lnTo>
                    <a:lnTo>
                      <a:pt x="2621" y="3864"/>
                    </a:lnTo>
                    <a:lnTo>
                      <a:pt x="2627" y="3857"/>
                    </a:lnTo>
                    <a:lnTo>
                      <a:pt x="2632" y="3850"/>
                    </a:lnTo>
                    <a:lnTo>
                      <a:pt x="2639" y="3844"/>
                    </a:lnTo>
                    <a:lnTo>
                      <a:pt x="2647" y="3839"/>
                    </a:lnTo>
                    <a:lnTo>
                      <a:pt x="2655" y="3833"/>
                    </a:lnTo>
                    <a:lnTo>
                      <a:pt x="2662" y="3830"/>
                    </a:lnTo>
                    <a:lnTo>
                      <a:pt x="2671" y="3827"/>
                    </a:lnTo>
                    <a:lnTo>
                      <a:pt x="2680" y="3824"/>
                    </a:lnTo>
                    <a:lnTo>
                      <a:pt x="2690" y="3823"/>
                    </a:lnTo>
                    <a:lnTo>
                      <a:pt x="2699" y="3822"/>
                    </a:lnTo>
                    <a:lnTo>
                      <a:pt x="2709" y="3823"/>
                    </a:lnTo>
                    <a:lnTo>
                      <a:pt x="2719" y="3824"/>
                    </a:lnTo>
                    <a:lnTo>
                      <a:pt x="2728" y="3827"/>
                    </a:lnTo>
                    <a:lnTo>
                      <a:pt x="2736" y="3830"/>
                    </a:lnTo>
                    <a:lnTo>
                      <a:pt x="2745" y="3833"/>
                    </a:lnTo>
                    <a:lnTo>
                      <a:pt x="2753" y="3839"/>
                    </a:lnTo>
                    <a:lnTo>
                      <a:pt x="2759" y="3844"/>
                    </a:lnTo>
                    <a:lnTo>
                      <a:pt x="2767" y="3850"/>
                    </a:lnTo>
                    <a:lnTo>
                      <a:pt x="2773" y="3857"/>
                    </a:lnTo>
                    <a:lnTo>
                      <a:pt x="2778" y="3864"/>
                    </a:lnTo>
                    <a:lnTo>
                      <a:pt x="2783" y="3872"/>
                    </a:lnTo>
                    <a:lnTo>
                      <a:pt x="2787" y="3880"/>
                    </a:lnTo>
                    <a:lnTo>
                      <a:pt x="2790" y="3889"/>
                    </a:lnTo>
                    <a:lnTo>
                      <a:pt x="2793" y="3898"/>
                    </a:lnTo>
                    <a:lnTo>
                      <a:pt x="2794" y="3908"/>
                    </a:lnTo>
                    <a:lnTo>
                      <a:pt x="2794" y="3917"/>
                    </a:lnTo>
                    <a:lnTo>
                      <a:pt x="2794" y="3927"/>
                    </a:lnTo>
                    <a:lnTo>
                      <a:pt x="2793" y="3936"/>
                    </a:lnTo>
                    <a:lnTo>
                      <a:pt x="2790" y="3945"/>
                    </a:lnTo>
                    <a:lnTo>
                      <a:pt x="2787" y="3953"/>
                    </a:lnTo>
                    <a:lnTo>
                      <a:pt x="2783" y="3962"/>
                    </a:lnTo>
                    <a:lnTo>
                      <a:pt x="2778" y="3970"/>
                    </a:lnTo>
                    <a:lnTo>
                      <a:pt x="2773" y="3977"/>
                    </a:lnTo>
                    <a:lnTo>
                      <a:pt x="2767" y="3983"/>
                    </a:lnTo>
                    <a:lnTo>
                      <a:pt x="2759" y="3990"/>
                    </a:lnTo>
                    <a:lnTo>
                      <a:pt x="2753" y="3996"/>
                    </a:lnTo>
                    <a:lnTo>
                      <a:pt x="2745" y="4000"/>
                    </a:lnTo>
                    <a:lnTo>
                      <a:pt x="2736" y="4005"/>
                    </a:lnTo>
                    <a:lnTo>
                      <a:pt x="2728" y="4007"/>
                    </a:lnTo>
                    <a:lnTo>
                      <a:pt x="2719" y="4010"/>
                    </a:lnTo>
                    <a:lnTo>
                      <a:pt x="2709" y="4011"/>
                    </a:lnTo>
                    <a:lnTo>
                      <a:pt x="2699" y="4011"/>
                    </a:lnTo>
                    <a:lnTo>
                      <a:pt x="2690" y="4011"/>
                    </a:lnTo>
                    <a:lnTo>
                      <a:pt x="2680" y="4010"/>
                    </a:lnTo>
                    <a:lnTo>
                      <a:pt x="2671" y="4007"/>
                    </a:lnTo>
                    <a:lnTo>
                      <a:pt x="2662" y="4005"/>
                    </a:lnTo>
                    <a:lnTo>
                      <a:pt x="2655" y="4000"/>
                    </a:lnTo>
                    <a:lnTo>
                      <a:pt x="2647" y="3996"/>
                    </a:lnTo>
                    <a:lnTo>
                      <a:pt x="2639" y="3990"/>
                    </a:lnTo>
                    <a:lnTo>
                      <a:pt x="2632" y="3983"/>
                    </a:lnTo>
                    <a:lnTo>
                      <a:pt x="2627" y="3977"/>
                    </a:lnTo>
                    <a:lnTo>
                      <a:pt x="2621" y="3970"/>
                    </a:lnTo>
                    <a:lnTo>
                      <a:pt x="2617" y="3962"/>
                    </a:lnTo>
                    <a:lnTo>
                      <a:pt x="2612" y="3953"/>
                    </a:lnTo>
                    <a:lnTo>
                      <a:pt x="2609" y="3945"/>
                    </a:lnTo>
                    <a:lnTo>
                      <a:pt x="2607" y="3936"/>
                    </a:lnTo>
                    <a:lnTo>
                      <a:pt x="2606" y="3927"/>
                    </a:lnTo>
                    <a:lnTo>
                      <a:pt x="2605" y="3917"/>
                    </a:lnTo>
                    <a:close/>
                    <a:moveTo>
                      <a:pt x="1346" y="3917"/>
                    </a:moveTo>
                    <a:lnTo>
                      <a:pt x="1346" y="3917"/>
                    </a:lnTo>
                    <a:lnTo>
                      <a:pt x="1346" y="3908"/>
                    </a:lnTo>
                    <a:lnTo>
                      <a:pt x="1347" y="3898"/>
                    </a:lnTo>
                    <a:lnTo>
                      <a:pt x="1350" y="3889"/>
                    </a:lnTo>
                    <a:lnTo>
                      <a:pt x="1352" y="3880"/>
                    </a:lnTo>
                    <a:lnTo>
                      <a:pt x="1357" y="3872"/>
                    </a:lnTo>
                    <a:lnTo>
                      <a:pt x="1361" y="3864"/>
                    </a:lnTo>
                    <a:lnTo>
                      <a:pt x="1367" y="3857"/>
                    </a:lnTo>
                    <a:lnTo>
                      <a:pt x="1373" y="3850"/>
                    </a:lnTo>
                    <a:lnTo>
                      <a:pt x="1380" y="3844"/>
                    </a:lnTo>
                    <a:lnTo>
                      <a:pt x="1387" y="3839"/>
                    </a:lnTo>
                    <a:lnTo>
                      <a:pt x="1395" y="3833"/>
                    </a:lnTo>
                    <a:lnTo>
                      <a:pt x="1404" y="3830"/>
                    </a:lnTo>
                    <a:lnTo>
                      <a:pt x="1412" y="3827"/>
                    </a:lnTo>
                    <a:lnTo>
                      <a:pt x="1421" y="3824"/>
                    </a:lnTo>
                    <a:lnTo>
                      <a:pt x="1430" y="3823"/>
                    </a:lnTo>
                    <a:lnTo>
                      <a:pt x="1440" y="3822"/>
                    </a:lnTo>
                    <a:lnTo>
                      <a:pt x="1449" y="3823"/>
                    </a:lnTo>
                    <a:lnTo>
                      <a:pt x="1459" y="3824"/>
                    </a:lnTo>
                    <a:lnTo>
                      <a:pt x="1468" y="3827"/>
                    </a:lnTo>
                    <a:lnTo>
                      <a:pt x="1477" y="3830"/>
                    </a:lnTo>
                    <a:lnTo>
                      <a:pt x="1485" y="3833"/>
                    </a:lnTo>
                    <a:lnTo>
                      <a:pt x="1492" y="3839"/>
                    </a:lnTo>
                    <a:lnTo>
                      <a:pt x="1500" y="3844"/>
                    </a:lnTo>
                    <a:lnTo>
                      <a:pt x="1507" y="3850"/>
                    </a:lnTo>
                    <a:lnTo>
                      <a:pt x="1512" y="3857"/>
                    </a:lnTo>
                    <a:lnTo>
                      <a:pt x="1518" y="3864"/>
                    </a:lnTo>
                    <a:lnTo>
                      <a:pt x="1524" y="3872"/>
                    </a:lnTo>
                    <a:lnTo>
                      <a:pt x="1527" y="3880"/>
                    </a:lnTo>
                    <a:lnTo>
                      <a:pt x="1530" y="3889"/>
                    </a:lnTo>
                    <a:lnTo>
                      <a:pt x="1533" y="3898"/>
                    </a:lnTo>
                    <a:lnTo>
                      <a:pt x="1534" y="3908"/>
                    </a:lnTo>
                    <a:lnTo>
                      <a:pt x="1535" y="3917"/>
                    </a:lnTo>
                    <a:lnTo>
                      <a:pt x="1534" y="3927"/>
                    </a:lnTo>
                    <a:lnTo>
                      <a:pt x="1533" y="3936"/>
                    </a:lnTo>
                    <a:lnTo>
                      <a:pt x="1530" y="3945"/>
                    </a:lnTo>
                    <a:lnTo>
                      <a:pt x="1527" y="3953"/>
                    </a:lnTo>
                    <a:lnTo>
                      <a:pt x="1524" y="3962"/>
                    </a:lnTo>
                    <a:lnTo>
                      <a:pt x="1518" y="3970"/>
                    </a:lnTo>
                    <a:lnTo>
                      <a:pt x="1512" y="3977"/>
                    </a:lnTo>
                    <a:lnTo>
                      <a:pt x="1507" y="3983"/>
                    </a:lnTo>
                    <a:lnTo>
                      <a:pt x="1500" y="3990"/>
                    </a:lnTo>
                    <a:lnTo>
                      <a:pt x="1492" y="3996"/>
                    </a:lnTo>
                    <a:lnTo>
                      <a:pt x="1485" y="4000"/>
                    </a:lnTo>
                    <a:lnTo>
                      <a:pt x="1477" y="4005"/>
                    </a:lnTo>
                    <a:lnTo>
                      <a:pt x="1468" y="4007"/>
                    </a:lnTo>
                    <a:lnTo>
                      <a:pt x="1459" y="4010"/>
                    </a:lnTo>
                    <a:lnTo>
                      <a:pt x="1449" y="4011"/>
                    </a:lnTo>
                    <a:lnTo>
                      <a:pt x="1440" y="4011"/>
                    </a:lnTo>
                    <a:lnTo>
                      <a:pt x="1430" y="4011"/>
                    </a:lnTo>
                    <a:lnTo>
                      <a:pt x="1421" y="4010"/>
                    </a:lnTo>
                    <a:lnTo>
                      <a:pt x="1412" y="4007"/>
                    </a:lnTo>
                    <a:lnTo>
                      <a:pt x="1404" y="4005"/>
                    </a:lnTo>
                    <a:lnTo>
                      <a:pt x="1395" y="4000"/>
                    </a:lnTo>
                    <a:lnTo>
                      <a:pt x="1387" y="3996"/>
                    </a:lnTo>
                    <a:lnTo>
                      <a:pt x="1380" y="3990"/>
                    </a:lnTo>
                    <a:lnTo>
                      <a:pt x="1373" y="3983"/>
                    </a:lnTo>
                    <a:lnTo>
                      <a:pt x="1367" y="3977"/>
                    </a:lnTo>
                    <a:lnTo>
                      <a:pt x="1361" y="3970"/>
                    </a:lnTo>
                    <a:lnTo>
                      <a:pt x="1357" y="3962"/>
                    </a:lnTo>
                    <a:lnTo>
                      <a:pt x="1352" y="3953"/>
                    </a:lnTo>
                    <a:lnTo>
                      <a:pt x="1350" y="3945"/>
                    </a:lnTo>
                    <a:lnTo>
                      <a:pt x="1347" y="3936"/>
                    </a:lnTo>
                    <a:lnTo>
                      <a:pt x="1346" y="3927"/>
                    </a:lnTo>
                    <a:lnTo>
                      <a:pt x="1346" y="3917"/>
                    </a:lnTo>
                    <a:close/>
                    <a:moveTo>
                      <a:pt x="1031" y="3917"/>
                    </a:moveTo>
                    <a:lnTo>
                      <a:pt x="1031" y="3917"/>
                    </a:lnTo>
                    <a:lnTo>
                      <a:pt x="1031" y="3908"/>
                    </a:lnTo>
                    <a:lnTo>
                      <a:pt x="1032" y="3898"/>
                    </a:lnTo>
                    <a:lnTo>
                      <a:pt x="1034" y="3889"/>
                    </a:lnTo>
                    <a:lnTo>
                      <a:pt x="1038" y="3880"/>
                    </a:lnTo>
                    <a:lnTo>
                      <a:pt x="1042" y="3872"/>
                    </a:lnTo>
                    <a:lnTo>
                      <a:pt x="1047" y="3864"/>
                    </a:lnTo>
                    <a:lnTo>
                      <a:pt x="1052" y="3857"/>
                    </a:lnTo>
                    <a:lnTo>
                      <a:pt x="1059" y="3850"/>
                    </a:lnTo>
                    <a:lnTo>
                      <a:pt x="1065" y="3844"/>
                    </a:lnTo>
                    <a:lnTo>
                      <a:pt x="1072" y="3839"/>
                    </a:lnTo>
                    <a:lnTo>
                      <a:pt x="1080" y="3833"/>
                    </a:lnTo>
                    <a:lnTo>
                      <a:pt x="1089" y="3830"/>
                    </a:lnTo>
                    <a:lnTo>
                      <a:pt x="1097" y="3827"/>
                    </a:lnTo>
                    <a:lnTo>
                      <a:pt x="1107" y="3824"/>
                    </a:lnTo>
                    <a:lnTo>
                      <a:pt x="1115" y="3823"/>
                    </a:lnTo>
                    <a:lnTo>
                      <a:pt x="1125" y="3822"/>
                    </a:lnTo>
                    <a:lnTo>
                      <a:pt x="1134" y="3823"/>
                    </a:lnTo>
                    <a:lnTo>
                      <a:pt x="1144" y="3824"/>
                    </a:lnTo>
                    <a:lnTo>
                      <a:pt x="1153" y="3827"/>
                    </a:lnTo>
                    <a:lnTo>
                      <a:pt x="1162" y="3830"/>
                    </a:lnTo>
                    <a:lnTo>
                      <a:pt x="1170" y="3833"/>
                    </a:lnTo>
                    <a:lnTo>
                      <a:pt x="1178" y="3839"/>
                    </a:lnTo>
                    <a:lnTo>
                      <a:pt x="1186" y="3844"/>
                    </a:lnTo>
                    <a:lnTo>
                      <a:pt x="1192" y="3850"/>
                    </a:lnTo>
                    <a:lnTo>
                      <a:pt x="1198" y="3857"/>
                    </a:lnTo>
                    <a:lnTo>
                      <a:pt x="1203" y="3864"/>
                    </a:lnTo>
                    <a:lnTo>
                      <a:pt x="1208" y="3872"/>
                    </a:lnTo>
                    <a:lnTo>
                      <a:pt x="1212" y="3880"/>
                    </a:lnTo>
                    <a:lnTo>
                      <a:pt x="1216" y="3889"/>
                    </a:lnTo>
                    <a:lnTo>
                      <a:pt x="1218" y="3898"/>
                    </a:lnTo>
                    <a:lnTo>
                      <a:pt x="1219" y="3908"/>
                    </a:lnTo>
                    <a:lnTo>
                      <a:pt x="1220" y="3917"/>
                    </a:lnTo>
                    <a:lnTo>
                      <a:pt x="1219" y="3927"/>
                    </a:lnTo>
                    <a:lnTo>
                      <a:pt x="1218" y="3936"/>
                    </a:lnTo>
                    <a:lnTo>
                      <a:pt x="1216" y="3945"/>
                    </a:lnTo>
                    <a:lnTo>
                      <a:pt x="1212" y="3953"/>
                    </a:lnTo>
                    <a:lnTo>
                      <a:pt x="1208" y="3962"/>
                    </a:lnTo>
                    <a:lnTo>
                      <a:pt x="1203" y="3970"/>
                    </a:lnTo>
                    <a:lnTo>
                      <a:pt x="1198" y="3977"/>
                    </a:lnTo>
                    <a:lnTo>
                      <a:pt x="1192" y="3983"/>
                    </a:lnTo>
                    <a:lnTo>
                      <a:pt x="1186" y="3990"/>
                    </a:lnTo>
                    <a:lnTo>
                      <a:pt x="1178" y="3996"/>
                    </a:lnTo>
                    <a:lnTo>
                      <a:pt x="1170" y="4000"/>
                    </a:lnTo>
                    <a:lnTo>
                      <a:pt x="1162" y="4005"/>
                    </a:lnTo>
                    <a:lnTo>
                      <a:pt x="1153" y="4007"/>
                    </a:lnTo>
                    <a:lnTo>
                      <a:pt x="1144" y="4010"/>
                    </a:lnTo>
                    <a:lnTo>
                      <a:pt x="1134" y="4011"/>
                    </a:lnTo>
                    <a:lnTo>
                      <a:pt x="1125" y="4011"/>
                    </a:lnTo>
                    <a:lnTo>
                      <a:pt x="1115" y="4011"/>
                    </a:lnTo>
                    <a:lnTo>
                      <a:pt x="1107" y="4010"/>
                    </a:lnTo>
                    <a:lnTo>
                      <a:pt x="1097" y="4007"/>
                    </a:lnTo>
                    <a:lnTo>
                      <a:pt x="1089" y="4005"/>
                    </a:lnTo>
                    <a:lnTo>
                      <a:pt x="1080" y="4000"/>
                    </a:lnTo>
                    <a:lnTo>
                      <a:pt x="1072" y="3996"/>
                    </a:lnTo>
                    <a:lnTo>
                      <a:pt x="1065" y="3990"/>
                    </a:lnTo>
                    <a:lnTo>
                      <a:pt x="1059" y="3983"/>
                    </a:lnTo>
                    <a:lnTo>
                      <a:pt x="1052" y="3977"/>
                    </a:lnTo>
                    <a:lnTo>
                      <a:pt x="1047" y="3970"/>
                    </a:lnTo>
                    <a:lnTo>
                      <a:pt x="1042" y="3962"/>
                    </a:lnTo>
                    <a:lnTo>
                      <a:pt x="1038" y="3953"/>
                    </a:lnTo>
                    <a:lnTo>
                      <a:pt x="1034" y="3945"/>
                    </a:lnTo>
                    <a:lnTo>
                      <a:pt x="1032" y="3936"/>
                    </a:lnTo>
                    <a:lnTo>
                      <a:pt x="1031" y="3927"/>
                    </a:lnTo>
                    <a:lnTo>
                      <a:pt x="1031" y="3917"/>
                    </a:lnTo>
                    <a:close/>
                    <a:moveTo>
                      <a:pt x="715" y="3917"/>
                    </a:moveTo>
                    <a:lnTo>
                      <a:pt x="715" y="3917"/>
                    </a:lnTo>
                    <a:lnTo>
                      <a:pt x="716" y="3908"/>
                    </a:lnTo>
                    <a:lnTo>
                      <a:pt x="717" y="3898"/>
                    </a:lnTo>
                    <a:lnTo>
                      <a:pt x="720" y="3889"/>
                    </a:lnTo>
                    <a:lnTo>
                      <a:pt x="723" y="3880"/>
                    </a:lnTo>
                    <a:lnTo>
                      <a:pt x="727" y="3872"/>
                    </a:lnTo>
                    <a:lnTo>
                      <a:pt x="732" y="3864"/>
                    </a:lnTo>
                    <a:lnTo>
                      <a:pt x="737" y="3857"/>
                    </a:lnTo>
                    <a:lnTo>
                      <a:pt x="743" y="3850"/>
                    </a:lnTo>
                    <a:lnTo>
                      <a:pt x="750" y="3844"/>
                    </a:lnTo>
                    <a:lnTo>
                      <a:pt x="757" y="3839"/>
                    </a:lnTo>
                    <a:lnTo>
                      <a:pt x="765" y="3833"/>
                    </a:lnTo>
                    <a:lnTo>
                      <a:pt x="773" y="3830"/>
                    </a:lnTo>
                    <a:lnTo>
                      <a:pt x="782" y="3827"/>
                    </a:lnTo>
                    <a:lnTo>
                      <a:pt x="791" y="3824"/>
                    </a:lnTo>
                    <a:lnTo>
                      <a:pt x="801" y="3823"/>
                    </a:lnTo>
                    <a:lnTo>
                      <a:pt x="811" y="3822"/>
                    </a:lnTo>
                    <a:lnTo>
                      <a:pt x="820" y="3823"/>
                    </a:lnTo>
                    <a:lnTo>
                      <a:pt x="830" y="3824"/>
                    </a:lnTo>
                    <a:lnTo>
                      <a:pt x="839" y="3827"/>
                    </a:lnTo>
                    <a:lnTo>
                      <a:pt x="847" y="3830"/>
                    </a:lnTo>
                    <a:lnTo>
                      <a:pt x="855" y="3833"/>
                    </a:lnTo>
                    <a:lnTo>
                      <a:pt x="863" y="3839"/>
                    </a:lnTo>
                    <a:lnTo>
                      <a:pt x="871" y="3844"/>
                    </a:lnTo>
                    <a:lnTo>
                      <a:pt x="877" y="3850"/>
                    </a:lnTo>
                    <a:lnTo>
                      <a:pt x="883" y="3857"/>
                    </a:lnTo>
                    <a:lnTo>
                      <a:pt x="889" y="3864"/>
                    </a:lnTo>
                    <a:lnTo>
                      <a:pt x="893" y="3872"/>
                    </a:lnTo>
                    <a:lnTo>
                      <a:pt x="897" y="3880"/>
                    </a:lnTo>
                    <a:lnTo>
                      <a:pt x="901" y="3889"/>
                    </a:lnTo>
                    <a:lnTo>
                      <a:pt x="903" y="3898"/>
                    </a:lnTo>
                    <a:lnTo>
                      <a:pt x="904" y="3908"/>
                    </a:lnTo>
                    <a:lnTo>
                      <a:pt x="905" y="3917"/>
                    </a:lnTo>
                    <a:lnTo>
                      <a:pt x="904" y="3927"/>
                    </a:lnTo>
                    <a:lnTo>
                      <a:pt x="903" y="3936"/>
                    </a:lnTo>
                    <a:lnTo>
                      <a:pt x="901" y="3945"/>
                    </a:lnTo>
                    <a:lnTo>
                      <a:pt x="897" y="3953"/>
                    </a:lnTo>
                    <a:lnTo>
                      <a:pt x="893" y="3962"/>
                    </a:lnTo>
                    <a:lnTo>
                      <a:pt x="889" y="3970"/>
                    </a:lnTo>
                    <a:lnTo>
                      <a:pt x="883" y="3977"/>
                    </a:lnTo>
                    <a:lnTo>
                      <a:pt x="877" y="3983"/>
                    </a:lnTo>
                    <a:lnTo>
                      <a:pt x="871" y="3990"/>
                    </a:lnTo>
                    <a:lnTo>
                      <a:pt x="863" y="3996"/>
                    </a:lnTo>
                    <a:lnTo>
                      <a:pt x="855" y="4000"/>
                    </a:lnTo>
                    <a:lnTo>
                      <a:pt x="847" y="4005"/>
                    </a:lnTo>
                    <a:lnTo>
                      <a:pt x="839" y="4007"/>
                    </a:lnTo>
                    <a:lnTo>
                      <a:pt x="830" y="4010"/>
                    </a:lnTo>
                    <a:lnTo>
                      <a:pt x="820" y="4011"/>
                    </a:lnTo>
                    <a:lnTo>
                      <a:pt x="811" y="4011"/>
                    </a:lnTo>
                    <a:lnTo>
                      <a:pt x="801" y="4011"/>
                    </a:lnTo>
                    <a:lnTo>
                      <a:pt x="791" y="4010"/>
                    </a:lnTo>
                    <a:lnTo>
                      <a:pt x="782" y="4007"/>
                    </a:lnTo>
                    <a:lnTo>
                      <a:pt x="773" y="4005"/>
                    </a:lnTo>
                    <a:lnTo>
                      <a:pt x="765" y="4000"/>
                    </a:lnTo>
                    <a:lnTo>
                      <a:pt x="757" y="3996"/>
                    </a:lnTo>
                    <a:lnTo>
                      <a:pt x="750" y="3990"/>
                    </a:lnTo>
                    <a:lnTo>
                      <a:pt x="743" y="3983"/>
                    </a:lnTo>
                    <a:lnTo>
                      <a:pt x="737" y="3977"/>
                    </a:lnTo>
                    <a:lnTo>
                      <a:pt x="732" y="3970"/>
                    </a:lnTo>
                    <a:lnTo>
                      <a:pt x="727" y="3962"/>
                    </a:lnTo>
                    <a:lnTo>
                      <a:pt x="723" y="3953"/>
                    </a:lnTo>
                    <a:lnTo>
                      <a:pt x="720" y="3945"/>
                    </a:lnTo>
                    <a:lnTo>
                      <a:pt x="717" y="3936"/>
                    </a:lnTo>
                    <a:lnTo>
                      <a:pt x="716" y="3927"/>
                    </a:lnTo>
                    <a:lnTo>
                      <a:pt x="715" y="3917"/>
                    </a:lnTo>
                    <a:close/>
                    <a:moveTo>
                      <a:pt x="400" y="3917"/>
                    </a:moveTo>
                    <a:lnTo>
                      <a:pt x="400" y="3917"/>
                    </a:lnTo>
                    <a:lnTo>
                      <a:pt x="401" y="3908"/>
                    </a:lnTo>
                    <a:lnTo>
                      <a:pt x="403" y="3898"/>
                    </a:lnTo>
                    <a:lnTo>
                      <a:pt x="405" y="3889"/>
                    </a:lnTo>
                    <a:lnTo>
                      <a:pt x="408" y="3880"/>
                    </a:lnTo>
                    <a:lnTo>
                      <a:pt x="413" y="3872"/>
                    </a:lnTo>
                    <a:lnTo>
                      <a:pt x="417" y="3864"/>
                    </a:lnTo>
                    <a:lnTo>
                      <a:pt x="423" y="3857"/>
                    </a:lnTo>
                    <a:lnTo>
                      <a:pt x="428" y="3850"/>
                    </a:lnTo>
                    <a:lnTo>
                      <a:pt x="435" y="3844"/>
                    </a:lnTo>
                    <a:lnTo>
                      <a:pt x="443" y="3839"/>
                    </a:lnTo>
                    <a:lnTo>
                      <a:pt x="450" y="3833"/>
                    </a:lnTo>
                    <a:lnTo>
                      <a:pt x="458" y="3830"/>
                    </a:lnTo>
                    <a:lnTo>
                      <a:pt x="467" y="3827"/>
                    </a:lnTo>
                    <a:lnTo>
                      <a:pt x="476" y="3824"/>
                    </a:lnTo>
                    <a:lnTo>
                      <a:pt x="486" y="3823"/>
                    </a:lnTo>
                    <a:lnTo>
                      <a:pt x="495" y="3822"/>
                    </a:lnTo>
                    <a:lnTo>
                      <a:pt x="505" y="3823"/>
                    </a:lnTo>
                    <a:lnTo>
                      <a:pt x="515" y="3824"/>
                    </a:lnTo>
                    <a:lnTo>
                      <a:pt x="524" y="3827"/>
                    </a:lnTo>
                    <a:lnTo>
                      <a:pt x="532" y="3830"/>
                    </a:lnTo>
                    <a:lnTo>
                      <a:pt x="540" y="3833"/>
                    </a:lnTo>
                    <a:lnTo>
                      <a:pt x="548" y="3839"/>
                    </a:lnTo>
                    <a:lnTo>
                      <a:pt x="555" y="3844"/>
                    </a:lnTo>
                    <a:lnTo>
                      <a:pt x="562" y="3850"/>
                    </a:lnTo>
                    <a:lnTo>
                      <a:pt x="568" y="3857"/>
                    </a:lnTo>
                    <a:lnTo>
                      <a:pt x="574" y="3864"/>
                    </a:lnTo>
                    <a:lnTo>
                      <a:pt x="578" y="3872"/>
                    </a:lnTo>
                    <a:lnTo>
                      <a:pt x="583" y="3880"/>
                    </a:lnTo>
                    <a:lnTo>
                      <a:pt x="586" y="3889"/>
                    </a:lnTo>
                    <a:lnTo>
                      <a:pt x="588" y="3898"/>
                    </a:lnTo>
                    <a:lnTo>
                      <a:pt x="589" y="3908"/>
                    </a:lnTo>
                    <a:lnTo>
                      <a:pt x="589" y="3917"/>
                    </a:lnTo>
                    <a:lnTo>
                      <a:pt x="589" y="3927"/>
                    </a:lnTo>
                    <a:lnTo>
                      <a:pt x="588" y="3936"/>
                    </a:lnTo>
                    <a:lnTo>
                      <a:pt x="586" y="3945"/>
                    </a:lnTo>
                    <a:lnTo>
                      <a:pt x="583" y="3953"/>
                    </a:lnTo>
                    <a:lnTo>
                      <a:pt x="578" y="3962"/>
                    </a:lnTo>
                    <a:lnTo>
                      <a:pt x="574" y="3970"/>
                    </a:lnTo>
                    <a:lnTo>
                      <a:pt x="568" y="3977"/>
                    </a:lnTo>
                    <a:lnTo>
                      <a:pt x="562" y="3983"/>
                    </a:lnTo>
                    <a:lnTo>
                      <a:pt x="555" y="3990"/>
                    </a:lnTo>
                    <a:lnTo>
                      <a:pt x="548" y="3996"/>
                    </a:lnTo>
                    <a:lnTo>
                      <a:pt x="540" y="4000"/>
                    </a:lnTo>
                    <a:lnTo>
                      <a:pt x="532" y="4005"/>
                    </a:lnTo>
                    <a:lnTo>
                      <a:pt x="524" y="4007"/>
                    </a:lnTo>
                    <a:lnTo>
                      <a:pt x="515" y="4010"/>
                    </a:lnTo>
                    <a:lnTo>
                      <a:pt x="505" y="4011"/>
                    </a:lnTo>
                    <a:lnTo>
                      <a:pt x="495" y="4011"/>
                    </a:lnTo>
                    <a:lnTo>
                      <a:pt x="486" y="4011"/>
                    </a:lnTo>
                    <a:lnTo>
                      <a:pt x="476" y="4010"/>
                    </a:lnTo>
                    <a:lnTo>
                      <a:pt x="467" y="4007"/>
                    </a:lnTo>
                    <a:lnTo>
                      <a:pt x="458" y="4005"/>
                    </a:lnTo>
                    <a:lnTo>
                      <a:pt x="450" y="4000"/>
                    </a:lnTo>
                    <a:lnTo>
                      <a:pt x="443" y="3996"/>
                    </a:lnTo>
                    <a:lnTo>
                      <a:pt x="435" y="3990"/>
                    </a:lnTo>
                    <a:lnTo>
                      <a:pt x="428" y="3983"/>
                    </a:lnTo>
                    <a:lnTo>
                      <a:pt x="423" y="3977"/>
                    </a:lnTo>
                    <a:lnTo>
                      <a:pt x="417" y="3970"/>
                    </a:lnTo>
                    <a:lnTo>
                      <a:pt x="413" y="3962"/>
                    </a:lnTo>
                    <a:lnTo>
                      <a:pt x="408" y="3953"/>
                    </a:lnTo>
                    <a:lnTo>
                      <a:pt x="405" y="3945"/>
                    </a:lnTo>
                    <a:lnTo>
                      <a:pt x="403" y="3936"/>
                    </a:lnTo>
                    <a:lnTo>
                      <a:pt x="401" y="3927"/>
                    </a:lnTo>
                    <a:lnTo>
                      <a:pt x="400" y="3917"/>
                    </a:lnTo>
                    <a:close/>
                    <a:moveTo>
                      <a:pt x="387" y="3616"/>
                    </a:moveTo>
                    <a:lnTo>
                      <a:pt x="387" y="3616"/>
                    </a:lnTo>
                    <a:lnTo>
                      <a:pt x="387" y="3606"/>
                    </a:lnTo>
                    <a:lnTo>
                      <a:pt x="389" y="3596"/>
                    </a:lnTo>
                    <a:lnTo>
                      <a:pt x="391" y="3588"/>
                    </a:lnTo>
                    <a:lnTo>
                      <a:pt x="394" y="3579"/>
                    </a:lnTo>
                    <a:lnTo>
                      <a:pt x="398" y="3571"/>
                    </a:lnTo>
                    <a:lnTo>
                      <a:pt x="403" y="3563"/>
                    </a:lnTo>
                    <a:lnTo>
                      <a:pt x="408" y="3555"/>
                    </a:lnTo>
                    <a:lnTo>
                      <a:pt x="415" y="3549"/>
                    </a:lnTo>
                    <a:lnTo>
                      <a:pt x="421" y="3543"/>
                    </a:lnTo>
                    <a:lnTo>
                      <a:pt x="428" y="3537"/>
                    </a:lnTo>
                    <a:lnTo>
                      <a:pt x="436" y="3533"/>
                    </a:lnTo>
                    <a:lnTo>
                      <a:pt x="445" y="3529"/>
                    </a:lnTo>
                    <a:lnTo>
                      <a:pt x="454" y="3525"/>
                    </a:lnTo>
                    <a:lnTo>
                      <a:pt x="463" y="3523"/>
                    </a:lnTo>
                    <a:lnTo>
                      <a:pt x="472" y="3522"/>
                    </a:lnTo>
                    <a:lnTo>
                      <a:pt x="482" y="3522"/>
                    </a:lnTo>
                    <a:lnTo>
                      <a:pt x="492" y="3522"/>
                    </a:lnTo>
                    <a:lnTo>
                      <a:pt x="500" y="3523"/>
                    </a:lnTo>
                    <a:lnTo>
                      <a:pt x="509" y="3525"/>
                    </a:lnTo>
                    <a:lnTo>
                      <a:pt x="518" y="3529"/>
                    </a:lnTo>
                    <a:lnTo>
                      <a:pt x="526" y="3533"/>
                    </a:lnTo>
                    <a:lnTo>
                      <a:pt x="534" y="3537"/>
                    </a:lnTo>
                    <a:lnTo>
                      <a:pt x="542" y="3543"/>
                    </a:lnTo>
                    <a:lnTo>
                      <a:pt x="548" y="3549"/>
                    </a:lnTo>
                    <a:lnTo>
                      <a:pt x="554" y="3555"/>
                    </a:lnTo>
                    <a:lnTo>
                      <a:pt x="559" y="3563"/>
                    </a:lnTo>
                    <a:lnTo>
                      <a:pt x="565" y="3571"/>
                    </a:lnTo>
                    <a:lnTo>
                      <a:pt x="568" y="3579"/>
                    </a:lnTo>
                    <a:lnTo>
                      <a:pt x="572" y="3588"/>
                    </a:lnTo>
                    <a:lnTo>
                      <a:pt x="574" y="3596"/>
                    </a:lnTo>
                    <a:lnTo>
                      <a:pt x="575" y="3606"/>
                    </a:lnTo>
                    <a:lnTo>
                      <a:pt x="576" y="3616"/>
                    </a:lnTo>
                    <a:lnTo>
                      <a:pt x="575" y="3625"/>
                    </a:lnTo>
                    <a:lnTo>
                      <a:pt x="574" y="3635"/>
                    </a:lnTo>
                    <a:lnTo>
                      <a:pt x="572" y="3644"/>
                    </a:lnTo>
                    <a:lnTo>
                      <a:pt x="568" y="3653"/>
                    </a:lnTo>
                    <a:lnTo>
                      <a:pt x="565" y="3661"/>
                    </a:lnTo>
                    <a:lnTo>
                      <a:pt x="559" y="3669"/>
                    </a:lnTo>
                    <a:lnTo>
                      <a:pt x="554" y="3677"/>
                    </a:lnTo>
                    <a:lnTo>
                      <a:pt x="548" y="3683"/>
                    </a:lnTo>
                    <a:lnTo>
                      <a:pt x="542" y="3689"/>
                    </a:lnTo>
                    <a:lnTo>
                      <a:pt x="534" y="3694"/>
                    </a:lnTo>
                    <a:lnTo>
                      <a:pt x="526" y="3699"/>
                    </a:lnTo>
                    <a:lnTo>
                      <a:pt x="518" y="3703"/>
                    </a:lnTo>
                    <a:lnTo>
                      <a:pt x="509" y="3707"/>
                    </a:lnTo>
                    <a:lnTo>
                      <a:pt x="500" y="3709"/>
                    </a:lnTo>
                    <a:lnTo>
                      <a:pt x="492" y="3710"/>
                    </a:lnTo>
                    <a:lnTo>
                      <a:pt x="482" y="3711"/>
                    </a:lnTo>
                    <a:lnTo>
                      <a:pt x="472" y="3710"/>
                    </a:lnTo>
                    <a:lnTo>
                      <a:pt x="463" y="3709"/>
                    </a:lnTo>
                    <a:lnTo>
                      <a:pt x="454" y="3707"/>
                    </a:lnTo>
                    <a:lnTo>
                      <a:pt x="445" y="3703"/>
                    </a:lnTo>
                    <a:lnTo>
                      <a:pt x="436" y="3699"/>
                    </a:lnTo>
                    <a:lnTo>
                      <a:pt x="428" y="3694"/>
                    </a:lnTo>
                    <a:lnTo>
                      <a:pt x="421" y="3689"/>
                    </a:lnTo>
                    <a:lnTo>
                      <a:pt x="415" y="3683"/>
                    </a:lnTo>
                    <a:lnTo>
                      <a:pt x="408" y="3677"/>
                    </a:lnTo>
                    <a:lnTo>
                      <a:pt x="403" y="3669"/>
                    </a:lnTo>
                    <a:lnTo>
                      <a:pt x="398" y="3661"/>
                    </a:lnTo>
                    <a:lnTo>
                      <a:pt x="394" y="3653"/>
                    </a:lnTo>
                    <a:lnTo>
                      <a:pt x="391" y="3644"/>
                    </a:lnTo>
                    <a:lnTo>
                      <a:pt x="389" y="3635"/>
                    </a:lnTo>
                    <a:lnTo>
                      <a:pt x="387" y="3625"/>
                    </a:lnTo>
                    <a:lnTo>
                      <a:pt x="387" y="3616"/>
                    </a:lnTo>
                    <a:close/>
                    <a:moveTo>
                      <a:pt x="387" y="3301"/>
                    </a:moveTo>
                    <a:lnTo>
                      <a:pt x="387" y="3301"/>
                    </a:lnTo>
                    <a:lnTo>
                      <a:pt x="387" y="3292"/>
                    </a:lnTo>
                    <a:lnTo>
                      <a:pt x="389" y="3282"/>
                    </a:lnTo>
                    <a:lnTo>
                      <a:pt x="391" y="3273"/>
                    </a:lnTo>
                    <a:lnTo>
                      <a:pt x="394" y="3264"/>
                    </a:lnTo>
                    <a:lnTo>
                      <a:pt x="398" y="3256"/>
                    </a:lnTo>
                    <a:lnTo>
                      <a:pt x="403" y="3248"/>
                    </a:lnTo>
                    <a:lnTo>
                      <a:pt x="408" y="3241"/>
                    </a:lnTo>
                    <a:lnTo>
                      <a:pt x="415" y="3234"/>
                    </a:lnTo>
                    <a:lnTo>
                      <a:pt x="421" y="3228"/>
                    </a:lnTo>
                    <a:lnTo>
                      <a:pt x="428" y="3223"/>
                    </a:lnTo>
                    <a:lnTo>
                      <a:pt x="436" y="3218"/>
                    </a:lnTo>
                    <a:lnTo>
                      <a:pt x="445" y="3214"/>
                    </a:lnTo>
                    <a:lnTo>
                      <a:pt x="454" y="3211"/>
                    </a:lnTo>
                    <a:lnTo>
                      <a:pt x="463" y="3208"/>
                    </a:lnTo>
                    <a:lnTo>
                      <a:pt x="472" y="3207"/>
                    </a:lnTo>
                    <a:lnTo>
                      <a:pt x="482" y="3206"/>
                    </a:lnTo>
                    <a:lnTo>
                      <a:pt x="492" y="3207"/>
                    </a:lnTo>
                    <a:lnTo>
                      <a:pt x="500" y="3208"/>
                    </a:lnTo>
                    <a:lnTo>
                      <a:pt x="509" y="3211"/>
                    </a:lnTo>
                    <a:lnTo>
                      <a:pt x="518" y="3214"/>
                    </a:lnTo>
                    <a:lnTo>
                      <a:pt x="526" y="3218"/>
                    </a:lnTo>
                    <a:lnTo>
                      <a:pt x="534" y="3223"/>
                    </a:lnTo>
                    <a:lnTo>
                      <a:pt x="542" y="3228"/>
                    </a:lnTo>
                    <a:lnTo>
                      <a:pt x="548" y="3234"/>
                    </a:lnTo>
                    <a:lnTo>
                      <a:pt x="554" y="3241"/>
                    </a:lnTo>
                    <a:lnTo>
                      <a:pt x="559" y="3248"/>
                    </a:lnTo>
                    <a:lnTo>
                      <a:pt x="565" y="3256"/>
                    </a:lnTo>
                    <a:lnTo>
                      <a:pt x="568" y="3264"/>
                    </a:lnTo>
                    <a:lnTo>
                      <a:pt x="572" y="3273"/>
                    </a:lnTo>
                    <a:lnTo>
                      <a:pt x="574" y="3282"/>
                    </a:lnTo>
                    <a:lnTo>
                      <a:pt x="575" y="3292"/>
                    </a:lnTo>
                    <a:lnTo>
                      <a:pt x="576" y="3301"/>
                    </a:lnTo>
                    <a:lnTo>
                      <a:pt x="575" y="3311"/>
                    </a:lnTo>
                    <a:lnTo>
                      <a:pt x="574" y="3321"/>
                    </a:lnTo>
                    <a:lnTo>
                      <a:pt x="572" y="3330"/>
                    </a:lnTo>
                    <a:lnTo>
                      <a:pt x="568" y="3338"/>
                    </a:lnTo>
                    <a:lnTo>
                      <a:pt x="565" y="3346"/>
                    </a:lnTo>
                    <a:lnTo>
                      <a:pt x="559" y="3354"/>
                    </a:lnTo>
                    <a:lnTo>
                      <a:pt x="554" y="3362"/>
                    </a:lnTo>
                    <a:lnTo>
                      <a:pt x="548" y="3368"/>
                    </a:lnTo>
                    <a:lnTo>
                      <a:pt x="542" y="3374"/>
                    </a:lnTo>
                    <a:lnTo>
                      <a:pt x="534" y="3380"/>
                    </a:lnTo>
                    <a:lnTo>
                      <a:pt x="526" y="3384"/>
                    </a:lnTo>
                    <a:lnTo>
                      <a:pt x="518" y="3388"/>
                    </a:lnTo>
                    <a:lnTo>
                      <a:pt x="509" y="3392"/>
                    </a:lnTo>
                    <a:lnTo>
                      <a:pt x="500" y="3394"/>
                    </a:lnTo>
                    <a:lnTo>
                      <a:pt x="492" y="3395"/>
                    </a:lnTo>
                    <a:lnTo>
                      <a:pt x="482" y="3395"/>
                    </a:lnTo>
                    <a:lnTo>
                      <a:pt x="472" y="3395"/>
                    </a:lnTo>
                    <a:lnTo>
                      <a:pt x="463" y="3394"/>
                    </a:lnTo>
                    <a:lnTo>
                      <a:pt x="454" y="3392"/>
                    </a:lnTo>
                    <a:lnTo>
                      <a:pt x="445" y="3388"/>
                    </a:lnTo>
                    <a:lnTo>
                      <a:pt x="436" y="3384"/>
                    </a:lnTo>
                    <a:lnTo>
                      <a:pt x="428" y="3380"/>
                    </a:lnTo>
                    <a:lnTo>
                      <a:pt x="421" y="3374"/>
                    </a:lnTo>
                    <a:lnTo>
                      <a:pt x="415" y="3368"/>
                    </a:lnTo>
                    <a:lnTo>
                      <a:pt x="408" y="3362"/>
                    </a:lnTo>
                    <a:lnTo>
                      <a:pt x="403" y="3354"/>
                    </a:lnTo>
                    <a:lnTo>
                      <a:pt x="398" y="3346"/>
                    </a:lnTo>
                    <a:lnTo>
                      <a:pt x="394" y="3338"/>
                    </a:lnTo>
                    <a:lnTo>
                      <a:pt x="391" y="3330"/>
                    </a:lnTo>
                    <a:lnTo>
                      <a:pt x="389" y="3321"/>
                    </a:lnTo>
                    <a:lnTo>
                      <a:pt x="387" y="3311"/>
                    </a:lnTo>
                    <a:lnTo>
                      <a:pt x="387" y="3301"/>
                    </a:lnTo>
                    <a:close/>
                    <a:moveTo>
                      <a:pt x="387" y="2986"/>
                    </a:moveTo>
                    <a:lnTo>
                      <a:pt x="387" y="2986"/>
                    </a:lnTo>
                    <a:lnTo>
                      <a:pt x="387" y="2977"/>
                    </a:lnTo>
                    <a:lnTo>
                      <a:pt x="389" y="2967"/>
                    </a:lnTo>
                    <a:lnTo>
                      <a:pt x="391" y="2958"/>
                    </a:lnTo>
                    <a:lnTo>
                      <a:pt x="394" y="2949"/>
                    </a:lnTo>
                    <a:lnTo>
                      <a:pt x="398" y="2941"/>
                    </a:lnTo>
                    <a:lnTo>
                      <a:pt x="403" y="2934"/>
                    </a:lnTo>
                    <a:lnTo>
                      <a:pt x="408" y="2926"/>
                    </a:lnTo>
                    <a:lnTo>
                      <a:pt x="415" y="2919"/>
                    </a:lnTo>
                    <a:lnTo>
                      <a:pt x="421" y="2914"/>
                    </a:lnTo>
                    <a:lnTo>
                      <a:pt x="428" y="2908"/>
                    </a:lnTo>
                    <a:lnTo>
                      <a:pt x="436" y="2904"/>
                    </a:lnTo>
                    <a:lnTo>
                      <a:pt x="445" y="2899"/>
                    </a:lnTo>
                    <a:lnTo>
                      <a:pt x="454" y="2896"/>
                    </a:lnTo>
                    <a:lnTo>
                      <a:pt x="463" y="2894"/>
                    </a:lnTo>
                    <a:lnTo>
                      <a:pt x="472" y="2892"/>
                    </a:lnTo>
                    <a:lnTo>
                      <a:pt x="482" y="2891"/>
                    </a:lnTo>
                    <a:lnTo>
                      <a:pt x="492" y="2892"/>
                    </a:lnTo>
                    <a:lnTo>
                      <a:pt x="500" y="2894"/>
                    </a:lnTo>
                    <a:lnTo>
                      <a:pt x="509" y="2896"/>
                    </a:lnTo>
                    <a:lnTo>
                      <a:pt x="518" y="2899"/>
                    </a:lnTo>
                    <a:lnTo>
                      <a:pt x="526" y="2904"/>
                    </a:lnTo>
                    <a:lnTo>
                      <a:pt x="534" y="2908"/>
                    </a:lnTo>
                    <a:lnTo>
                      <a:pt x="542" y="2914"/>
                    </a:lnTo>
                    <a:lnTo>
                      <a:pt x="548" y="2919"/>
                    </a:lnTo>
                    <a:lnTo>
                      <a:pt x="554" y="2926"/>
                    </a:lnTo>
                    <a:lnTo>
                      <a:pt x="559" y="2934"/>
                    </a:lnTo>
                    <a:lnTo>
                      <a:pt x="565" y="2941"/>
                    </a:lnTo>
                    <a:lnTo>
                      <a:pt x="568" y="2949"/>
                    </a:lnTo>
                    <a:lnTo>
                      <a:pt x="572" y="2958"/>
                    </a:lnTo>
                    <a:lnTo>
                      <a:pt x="574" y="2967"/>
                    </a:lnTo>
                    <a:lnTo>
                      <a:pt x="575" y="2977"/>
                    </a:lnTo>
                    <a:lnTo>
                      <a:pt x="576" y="2986"/>
                    </a:lnTo>
                    <a:lnTo>
                      <a:pt x="575" y="2996"/>
                    </a:lnTo>
                    <a:lnTo>
                      <a:pt x="574" y="3005"/>
                    </a:lnTo>
                    <a:lnTo>
                      <a:pt x="572" y="3015"/>
                    </a:lnTo>
                    <a:lnTo>
                      <a:pt x="568" y="3023"/>
                    </a:lnTo>
                    <a:lnTo>
                      <a:pt x="565" y="3032"/>
                    </a:lnTo>
                    <a:lnTo>
                      <a:pt x="559" y="3039"/>
                    </a:lnTo>
                    <a:lnTo>
                      <a:pt x="554" y="3046"/>
                    </a:lnTo>
                    <a:lnTo>
                      <a:pt x="548" y="3053"/>
                    </a:lnTo>
                    <a:lnTo>
                      <a:pt x="542" y="3059"/>
                    </a:lnTo>
                    <a:lnTo>
                      <a:pt x="534" y="3065"/>
                    </a:lnTo>
                    <a:lnTo>
                      <a:pt x="526" y="3069"/>
                    </a:lnTo>
                    <a:lnTo>
                      <a:pt x="518" y="3074"/>
                    </a:lnTo>
                    <a:lnTo>
                      <a:pt x="509" y="3077"/>
                    </a:lnTo>
                    <a:lnTo>
                      <a:pt x="500" y="3079"/>
                    </a:lnTo>
                    <a:lnTo>
                      <a:pt x="492" y="3080"/>
                    </a:lnTo>
                    <a:lnTo>
                      <a:pt x="482" y="3080"/>
                    </a:lnTo>
                    <a:lnTo>
                      <a:pt x="472" y="3080"/>
                    </a:lnTo>
                    <a:lnTo>
                      <a:pt x="463" y="3079"/>
                    </a:lnTo>
                    <a:lnTo>
                      <a:pt x="454" y="3077"/>
                    </a:lnTo>
                    <a:lnTo>
                      <a:pt x="445" y="3074"/>
                    </a:lnTo>
                    <a:lnTo>
                      <a:pt x="436" y="3069"/>
                    </a:lnTo>
                    <a:lnTo>
                      <a:pt x="428" y="3065"/>
                    </a:lnTo>
                    <a:lnTo>
                      <a:pt x="421" y="3059"/>
                    </a:lnTo>
                    <a:lnTo>
                      <a:pt x="415" y="3053"/>
                    </a:lnTo>
                    <a:lnTo>
                      <a:pt x="408" y="3046"/>
                    </a:lnTo>
                    <a:lnTo>
                      <a:pt x="403" y="3039"/>
                    </a:lnTo>
                    <a:lnTo>
                      <a:pt x="398" y="3032"/>
                    </a:lnTo>
                    <a:lnTo>
                      <a:pt x="394" y="3023"/>
                    </a:lnTo>
                    <a:lnTo>
                      <a:pt x="391" y="3015"/>
                    </a:lnTo>
                    <a:lnTo>
                      <a:pt x="389" y="3005"/>
                    </a:lnTo>
                    <a:lnTo>
                      <a:pt x="387" y="2996"/>
                    </a:lnTo>
                    <a:lnTo>
                      <a:pt x="387" y="2986"/>
                    </a:lnTo>
                    <a:close/>
                    <a:moveTo>
                      <a:pt x="387" y="2671"/>
                    </a:moveTo>
                    <a:lnTo>
                      <a:pt x="387" y="2671"/>
                    </a:lnTo>
                    <a:lnTo>
                      <a:pt x="387" y="2661"/>
                    </a:lnTo>
                    <a:lnTo>
                      <a:pt x="389" y="2652"/>
                    </a:lnTo>
                    <a:lnTo>
                      <a:pt x="391" y="2643"/>
                    </a:lnTo>
                    <a:lnTo>
                      <a:pt x="394" y="2634"/>
                    </a:lnTo>
                    <a:lnTo>
                      <a:pt x="398" y="2627"/>
                    </a:lnTo>
                    <a:lnTo>
                      <a:pt x="403" y="2619"/>
                    </a:lnTo>
                    <a:lnTo>
                      <a:pt x="408" y="2611"/>
                    </a:lnTo>
                    <a:lnTo>
                      <a:pt x="415" y="2604"/>
                    </a:lnTo>
                    <a:lnTo>
                      <a:pt x="421" y="2599"/>
                    </a:lnTo>
                    <a:lnTo>
                      <a:pt x="428" y="2593"/>
                    </a:lnTo>
                    <a:lnTo>
                      <a:pt x="436" y="2588"/>
                    </a:lnTo>
                    <a:lnTo>
                      <a:pt x="445" y="2584"/>
                    </a:lnTo>
                    <a:lnTo>
                      <a:pt x="454" y="2581"/>
                    </a:lnTo>
                    <a:lnTo>
                      <a:pt x="463" y="2579"/>
                    </a:lnTo>
                    <a:lnTo>
                      <a:pt x="472" y="2578"/>
                    </a:lnTo>
                    <a:lnTo>
                      <a:pt x="482" y="2577"/>
                    </a:lnTo>
                    <a:lnTo>
                      <a:pt x="492" y="2578"/>
                    </a:lnTo>
                    <a:lnTo>
                      <a:pt x="500" y="2579"/>
                    </a:lnTo>
                    <a:lnTo>
                      <a:pt x="509" y="2581"/>
                    </a:lnTo>
                    <a:lnTo>
                      <a:pt x="518" y="2584"/>
                    </a:lnTo>
                    <a:lnTo>
                      <a:pt x="526" y="2588"/>
                    </a:lnTo>
                    <a:lnTo>
                      <a:pt x="534" y="2593"/>
                    </a:lnTo>
                    <a:lnTo>
                      <a:pt x="542" y="2599"/>
                    </a:lnTo>
                    <a:lnTo>
                      <a:pt x="548" y="2604"/>
                    </a:lnTo>
                    <a:lnTo>
                      <a:pt x="554" y="2611"/>
                    </a:lnTo>
                    <a:lnTo>
                      <a:pt x="559" y="2619"/>
                    </a:lnTo>
                    <a:lnTo>
                      <a:pt x="565" y="2627"/>
                    </a:lnTo>
                    <a:lnTo>
                      <a:pt x="568" y="2634"/>
                    </a:lnTo>
                    <a:lnTo>
                      <a:pt x="572" y="2643"/>
                    </a:lnTo>
                    <a:lnTo>
                      <a:pt x="574" y="2652"/>
                    </a:lnTo>
                    <a:lnTo>
                      <a:pt x="575" y="2661"/>
                    </a:lnTo>
                    <a:lnTo>
                      <a:pt x="576" y="2671"/>
                    </a:lnTo>
                    <a:lnTo>
                      <a:pt x="575" y="2681"/>
                    </a:lnTo>
                    <a:lnTo>
                      <a:pt x="574" y="2690"/>
                    </a:lnTo>
                    <a:lnTo>
                      <a:pt x="572" y="2699"/>
                    </a:lnTo>
                    <a:lnTo>
                      <a:pt x="568" y="2708"/>
                    </a:lnTo>
                    <a:lnTo>
                      <a:pt x="565" y="2717"/>
                    </a:lnTo>
                    <a:lnTo>
                      <a:pt x="559" y="2725"/>
                    </a:lnTo>
                    <a:lnTo>
                      <a:pt x="554" y="2731"/>
                    </a:lnTo>
                    <a:lnTo>
                      <a:pt x="548" y="2738"/>
                    </a:lnTo>
                    <a:lnTo>
                      <a:pt x="542" y="2745"/>
                    </a:lnTo>
                    <a:lnTo>
                      <a:pt x="534" y="2750"/>
                    </a:lnTo>
                    <a:lnTo>
                      <a:pt x="526" y="2755"/>
                    </a:lnTo>
                    <a:lnTo>
                      <a:pt x="518" y="2759"/>
                    </a:lnTo>
                    <a:lnTo>
                      <a:pt x="509" y="2761"/>
                    </a:lnTo>
                    <a:lnTo>
                      <a:pt x="500" y="2763"/>
                    </a:lnTo>
                    <a:lnTo>
                      <a:pt x="492" y="2766"/>
                    </a:lnTo>
                    <a:lnTo>
                      <a:pt x="482" y="2766"/>
                    </a:lnTo>
                    <a:lnTo>
                      <a:pt x="472" y="2766"/>
                    </a:lnTo>
                    <a:lnTo>
                      <a:pt x="463" y="2763"/>
                    </a:lnTo>
                    <a:lnTo>
                      <a:pt x="454" y="2761"/>
                    </a:lnTo>
                    <a:lnTo>
                      <a:pt x="445" y="2759"/>
                    </a:lnTo>
                    <a:lnTo>
                      <a:pt x="436" y="2755"/>
                    </a:lnTo>
                    <a:lnTo>
                      <a:pt x="428" y="2750"/>
                    </a:lnTo>
                    <a:lnTo>
                      <a:pt x="421" y="2745"/>
                    </a:lnTo>
                    <a:lnTo>
                      <a:pt x="415" y="2738"/>
                    </a:lnTo>
                    <a:lnTo>
                      <a:pt x="408" y="2731"/>
                    </a:lnTo>
                    <a:lnTo>
                      <a:pt x="403" y="2725"/>
                    </a:lnTo>
                    <a:lnTo>
                      <a:pt x="398" y="2717"/>
                    </a:lnTo>
                    <a:lnTo>
                      <a:pt x="394" y="2708"/>
                    </a:lnTo>
                    <a:lnTo>
                      <a:pt x="391" y="2699"/>
                    </a:lnTo>
                    <a:lnTo>
                      <a:pt x="389" y="2690"/>
                    </a:lnTo>
                    <a:lnTo>
                      <a:pt x="387" y="2681"/>
                    </a:lnTo>
                    <a:lnTo>
                      <a:pt x="387" y="2671"/>
                    </a:lnTo>
                    <a:close/>
                    <a:moveTo>
                      <a:pt x="387" y="2356"/>
                    </a:moveTo>
                    <a:lnTo>
                      <a:pt x="387" y="2356"/>
                    </a:lnTo>
                    <a:lnTo>
                      <a:pt x="387" y="2346"/>
                    </a:lnTo>
                    <a:lnTo>
                      <a:pt x="389" y="2338"/>
                    </a:lnTo>
                    <a:lnTo>
                      <a:pt x="391" y="2329"/>
                    </a:lnTo>
                    <a:lnTo>
                      <a:pt x="394" y="2320"/>
                    </a:lnTo>
                    <a:lnTo>
                      <a:pt x="398" y="2311"/>
                    </a:lnTo>
                    <a:lnTo>
                      <a:pt x="403" y="2303"/>
                    </a:lnTo>
                    <a:lnTo>
                      <a:pt x="408" y="2296"/>
                    </a:lnTo>
                    <a:lnTo>
                      <a:pt x="415" y="2290"/>
                    </a:lnTo>
                    <a:lnTo>
                      <a:pt x="421" y="2283"/>
                    </a:lnTo>
                    <a:lnTo>
                      <a:pt x="428" y="2278"/>
                    </a:lnTo>
                    <a:lnTo>
                      <a:pt x="436" y="2273"/>
                    </a:lnTo>
                    <a:lnTo>
                      <a:pt x="445" y="2270"/>
                    </a:lnTo>
                    <a:lnTo>
                      <a:pt x="454" y="2266"/>
                    </a:lnTo>
                    <a:lnTo>
                      <a:pt x="463" y="2264"/>
                    </a:lnTo>
                    <a:lnTo>
                      <a:pt x="472" y="2262"/>
                    </a:lnTo>
                    <a:lnTo>
                      <a:pt x="482" y="2262"/>
                    </a:lnTo>
                    <a:lnTo>
                      <a:pt x="492" y="2262"/>
                    </a:lnTo>
                    <a:lnTo>
                      <a:pt x="500" y="2264"/>
                    </a:lnTo>
                    <a:lnTo>
                      <a:pt x="509" y="2266"/>
                    </a:lnTo>
                    <a:lnTo>
                      <a:pt x="518" y="2270"/>
                    </a:lnTo>
                    <a:lnTo>
                      <a:pt x="526" y="2273"/>
                    </a:lnTo>
                    <a:lnTo>
                      <a:pt x="534" y="2278"/>
                    </a:lnTo>
                    <a:lnTo>
                      <a:pt x="542" y="2283"/>
                    </a:lnTo>
                    <a:lnTo>
                      <a:pt x="548" y="2290"/>
                    </a:lnTo>
                    <a:lnTo>
                      <a:pt x="554" y="2296"/>
                    </a:lnTo>
                    <a:lnTo>
                      <a:pt x="559" y="2303"/>
                    </a:lnTo>
                    <a:lnTo>
                      <a:pt x="565" y="2311"/>
                    </a:lnTo>
                    <a:lnTo>
                      <a:pt x="568" y="2320"/>
                    </a:lnTo>
                    <a:lnTo>
                      <a:pt x="572" y="2329"/>
                    </a:lnTo>
                    <a:lnTo>
                      <a:pt x="574" y="2338"/>
                    </a:lnTo>
                    <a:lnTo>
                      <a:pt x="575" y="2346"/>
                    </a:lnTo>
                    <a:lnTo>
                      <a:pt x="576" y="2356"/>
                    </a:lnTo>
                    <a:lnTo>
                      <a:pt x="575" y="2366"/>
                    </a:lnTo>
                    <a:lnTo>
                      <a:pt x="574" y="2375"/>
                    </a:lnTo>
                    <a:lnTo>
                      <a:pt x="572" y="2384"/>
                    </a:lnTo>
                    <a:lnTo>
                      <a:pt x="568" y="2393"/>
                    </a:lnTo>
                    <a:lnTo>
                      <a:pt x="565" y="2402"/>
                    </a:lnTo>
                    <a:lnTo>
                      <a:pt x="559" y="2410"/>
                    </a:lnTo>
                    <a:lnTo>
                      <a:pt x="554" y="2417"/>
                    </a:lnTo>
                    <a:lnTo>
                      <a:pt x="548" y="2423"/>
                    </a:lnTo>
                    <a:lnTo>
                      <a:pt x="542" y="2430"/>
                    </a:lnTo>
                    <a:lnTo>
                      <a:pt x="534" y="2435"/>
                    </a:lnTo>
                    <a:lnTo>
                      <a:pt x="526" y="2440"/>
                    </a:lnTo>
                    <a:lnTo>
                      <a:pt x="518" y="2443"/>
                    </a:lnTo>
                    <a:lnTo>
                      <a:pt x="509" y="2447"/>
                    </a:lnTo>
                    <a:lnTo>
                      <a:pt x="500" y="2449"/>
                    </a:lnTo>
                    <a:lnTo>
                      <a:pt x="492" y="2451"/>
                    </a:lnTo>
                    <a:lnTo>
                      <a:pt x="482" y="2451"/>
                    </a:lnTo>
                    <a:lnTo>
                      <a:pt x="472" y="2451"/>
                    </a:lnTo>
                    <a:lnTo>
                      <a:pt x="463" y="2449"/>
                    </a:lnTo>
                    <a:lnTo>
                      <a:pt x="454" y="2447"/>
                    </a:lnTo>
                    <a:lnTo>
                      <a:pt x="445" y="2443"/>
                    </a:lnTo>
                    <a:lnTo>
                      <a:pt x="436" y="2440"/>
                    </a:lnTo>
                    <a:lnTo>
                      <a:pt x="428" y="2435"/>
                    </a:lnTo>
                    <a:lnTo>
                      <a:pt x="421" y="2430"/>
                    </a:lnTo>
                    <a:lnTo>
                      <a:pt x="415" y="2423"/>
                    </a:lnTo>
                    <a:lnTo>
                      <a:pt x="408" y="2417"/>
                    </a:lnTo>
                    <a:lnTo>
                      <a:pt x="403" y="2410"/>
                    </a:lnTo>
                    <a:lnTo>
                      <a:pt x="398" y="2402"/>
                    </a:lnTo>
                    <a:lnTo>
                      <a:pt x="394" y="2393"/>
                    </a:lnTo>
                    <a:lnTo>
                      <a:pt x="391" y="2384"/>
                    </a:lnTo>
                    <a:lnTo>
                      <a:pt x="389" y="2375"/>
                    </a:lnTo>
                    <a:lnTo>
                      <a:pt x="387" y="2366"/>
                    </a:lnTo>
                    <a:lnTo>
                      <a:pt x="387" y="2356"/>
                    </a:lnTo>
                    <a:close/>
                    <a:moveTo>
                      <a:pt x="387" y="2042"/>
                    </a:moveTo>
                    <a:lnTo>
                      <a:pt x="387" y="2042"/>
                    </a:lnTo>
                    <a:lnTo>
                      <a:pt x="387" y="2032"/>
                    </a:lnTo>
                    <a:lnTo>
                      <a:pt x="389" y="2023"/>
                    </a:lnTo>
                    <a:lnTo>
                      <a:pt x="391" y="2014"/>
                    </a:lnTo>
                    <a:lnTo>
                      <a:pt x="394" y="2005"/>
                    </a:lnTo>
                    <a:lnTo>
                      <a:pt x="398" y="1996"/>
                    </a:lnTo>
                    <a:lnTo>
                      <a:pt x="403" y="1988"/>
                    </a:lnTo>
                    <a:lnTo>
                      <a:pt x="408" y="1982"/>
                    </a:lnTo>
                    <a:lnTo>
                      <a:pt x="415" y="1975"/>
                    </a:lnTo>
                    <a:lnTo>
                      <a:pt x="421" y="1968"/>
                    </a:lnTo>
                    <a:lnTo>
                      <a:pt x="428" y="1963"/>
                    </a:lnTo>
                    <a:lnTo>
                      <a:pt x="436" y="1958"/>
                    </a:lnTo>
                    <a:lnTo>
                      <a:pt x="445" y="1955"/>
                    </a:lnTo>
                    <a:lnTo>
                      <a:pt x="454" y="1952"/>
                    </a:lnTo>
                    <a:lnTo>
                      <a:pt x="463" y="1949"/>
                    </a:lnTo>
                    <a:lnTo>
                      <a:pt x="472" y="1947"/>
                    </a:lnTo>
                    <a:lnTo>
                      <a:pt x="482" y="1947"/>
                    </a:lnTo>
                    <a:lnTo>
                      <a:pt x="492" y="1947"/>
                    </a:lnTo>
                    <a:lnTo>
                      <a:pt x="500" y="1949"/>
                    </a:lnTo>
                    <a:lnTo>
                      <a:pt x="509" y="1952"/>
                    </a:lnTo>
                    <a:lnTo>
                      <a:pt x="518" y="1955"/>
                    </a:lnTo>
                    <a:lnTo>
                      <a:pt x="526" y="1958"/>
                    </a:lnTo>
                    <a:lnTo>
                      <a:pt x="534" y="1963"/>
                    </a:lnTo>
                    <a:lnTo>
                      <a:pt x="542" y="1968"/>
                    </a:lnTo>
                    <a:lnTo>
                      <a:pt x="548" y="1975"/>
                    </a:lnTo>
                    <a:lnTo>
                      <a:pt x="554" y="1982"/>
                    </a:lnTo>
                    <a:lnTo>
                      <a:pt x="559" y="1988"/>
                    </a:lnTo>
                    <a:lnTo>
                      <a:pt x="565" y="1996"/>
                    </a:lnTo>
                    <a:lnTo>
                      <a:pt x="568" y="2005"/>
                    </a:lnTo>
                    <a:lnTo>
                      <a:pt x="572" y="2014"/>
                    </a:lnTo>
                    <a:lnTo>
                      <a:pt x="574" y="2023"/>
                    </a:lnTo>
                    <a:lnTo>
                      <a:pt x="575" y="2032"/>
                    </a:lnTo>
                    <a:lnTo>
                      <a:pt x="576" y="2042"/>
                    </a:lnTo>
                    <a:lnTo>
                      <a:pt x="575" y="2052"/>
                    </a:lnTo>
                    <a:lnTo>
                      <a:pt x="574" y="2061"/>
                    </a:lnTo>
                    <a:lnTo>
                      <a:pt x="572" y="2070"/>
                    </a:lnTo>
                    <a:lnTo>
                      <a:pt x="568" y="2078"/>
                    </a:lnTo>
                    <a:lnTo>
                      <a:pt x="565" y="2086"/>
                    </a:lnTo>
                    <a:lnTo>
                      <a:pt x="559" y="2094"/>
                    </a:lnTo>
                    <a:lnTo>
                      <a:pt x="554" y="2102"/>
                    </a:lnTo>
                    <a:lnTo>
                      <a:pt x="548" y="2108"/>
                    </a:lnTo>
                    <a:lnTo>
                      <a:pt x="542" y="2114"/>
                    </a:lnTo>
                    <a:lnTo>
                      <a:pt x="534" y="2120"/>
                    </a:lnTo>
                    <a:lnTo>
                      <a:pt x="526" y="2125"/>
                    </a:lnTo>
                    <a:lnTo>
                      <a:pt x="518" y="2129"/>
                    </a:lnTo>
                    <a:lnTo>
                      <a:pt x="509" y="2132"/>
                    </a:lnTo>
                    <a:lnTo>
                      <a:pt x="500" y="2134"/>
                    </a:lnTo>
                    <a:lnTo>
                      <a:pt x="492" y="2135"/>
                    </a:lnTo>
                    <a:lnTo>
                      <a:pt x="482" y="2136"/>
                    </a:lnTo>
                    <a:lnTo>
                      <a:pt x="472" y="2135"/>
                    </a:lnTo>
                    <a:lnTo>
                      <a:pt x="463" y="2134"/>
                    </a:lnTo>
                    <a:lnTo>
                      <a:pt x="454" y="2132"/>
                    </a:lnTo>
                    <a:lnTo>
                      <a:pt x="445" y="2129"/>
                    </a:lnTo>
                    <a:lnTo>
                      <a:pt x="436" y="2125"/>
                    </a:lnTo>
                    <a:lnTo>
                      <a:pt x="428" y="2120"/>
                    </a:lnTo>
                    <a:lnTo>
                      <a:pt x="421" y="2114"/>
                    </a:lnTo>
                    <a:lnTo>
                      <a:pt x="415" y="2108"/>
                    </a:lnTo>
                    <a:lnTo>
                      <a:pt x="408" y="2102"/>
                    </a:lnTo>
                    <a:lnTo>
                      <a:pt x="403" y="2094"/>
                    </a:lnTo>
                    <a:lnTo>
                      <a:pt x="398" y="2086"/>
                    </a:lnTo>
                    <a:lnTo>
                      <a:pt x="394" y="2078"/>
                    </a:lnTo>
                    <a:lnTo>
                      <a:pt x="391" y="2070"/>
                    </a:lnTo>
                    <a:lnTo>
                      <a:pt x="389" y="2061"/>
                    </a:lnTo>
                    <a:lnTo>
                      <a:pt x="387" y="2052"/>
                    </a:lnTo>
                    <a:lnTo>
                      <a:pt x="387" y="2042"/>
                    </a:lnTo>
                    <a:close/>
                    <a:moveTo>
                      <a:pt x="387" y="1727"/>
                    </a:moveTo>
                    <a:lnTo>
                      <a:pt x="387" y="1727"/>
                    </a:lnTo>
                    <a:lnTo>
                      <a:pt x="387" y="1717"/>
                    </a:lnTo>
                    <a:lnTo>
                      <a:pt x="389" y="1708"/>
                    </a:lnTo>
                    <a:lnTo>
                      <a:pt x="391" y="1698"/>
                    </a:lnTo>
                    <a:lnTo>
                      <a:pt x="394" y="1690"/>
                    </a:lnTo>
                    <a:lnTo>
                      <a:pt x="398" y="1681"/>
                    </a:lnTo>
                    <a:lnTo>
                      <a:pt x="403" y="1674"/>
                    </a:lnTo>
                    <a:lnTo>
                      <a:pt x="408" y="1667"/>
                    </a:lnTo>
                    <a:lnTo>
                      <a:pt x="415" y="1660"/>
                    </a:lnTo>
                    <a:lnTo>
                      <a:pt x="421" y="1654"/>
                    </a:lnTo>
                    <a:lnTo>
                      <a:pt x="428" y="1648"/>
                    </a:lnTo>
                    <a:lnTo>
                      <a:pt x="436" y="1644"/>
                    </a:lnTo>
                    <a:lnTo>
                      <a:pt x="445" y="1639"/>
                    </a:lnTo>
                    <a:lnTo>
                      <a:pt x="454" y="1637"/>
                    </a:lnTo>
                    <a:lnTo>
                      <a:pt x="463" y="1634"/>
                    </a:lnTo>
                    <a:lnTo>
                      <a:pt x="472" y="1633"/>
                    </a:lnTo>
                    <a:lnTo>
                      <a:pt x="482" y="1633"/>
                    </a:lnTo>
                    <a:lnTo>
                      <a:pt x="492" y="1633"/>
                    </a:lnTo>
                    <a:lnTo>
                      <a:pt x="500" y="1634"/>
                    </a:lnTo>
                    <a:lnTo>
                      <a:pt x="509" y="1637"/>
                    </a:lnTo>
                    <a:lnTo>
                      <a:pt x="518" y="1639"/>
                    </a:lnTo>
                    <a:lnTo>
                      <a:pt x="526" y="1644"/>
                    </a:lnTo>
                    <a:lnTo>
                      <a:pt x="534" y="1648"/>
                    </a:lnTo>
                    <a:lnTo>
                      <a:pt x="542" y="1654"/>
                    </a:lnTo>
                    <a:lnTo>
                      <a:pt x="548" y="1660"/>
                    </a:lnTo>
                    <a:lnTo>
                      <a:pt x="554" y="1667"/>
                    </a:lnTo>
                    <a:lnTo>
                      <a:pt x="559" y="1674"/>
                    </a:lnTo>
                    <a:lnTo>
                      <a:pt x="565" y="1681"/>
                    </a:lnTo>
                    <a:lnTo>
                      <a:pt x="568" y="1690"/>
                    </a:lnTo>
                    <a:lnTo>
                      <a:pt x="572" y="1698"/>
                    </a:lnTo>
                    <a:lnTo>
                      <a:pt x="574" y="1708"/>
                    </a:lnTo>
                    <a:lnTo>
                      <a:pt x="575" y="1717"/>
                    </a:lnTo>
                    <a:lnTo>
                      <a:pt x="576" y="1727"/>
                    </a:lnTo>
                    <a:lnTo>
                      <a:pt x="575" y="1736"/>
                    </a:lnTo>
                    <a:lnTo>
                      <a:pt x="574" y="1746"/>
                    </a:lnTo>
                    <a:lnTo>
                      <a:pt x="572" y="1755"/>
                    </a:lnTo>
                    <a:lnTo>
                      <a:pt x="568" y="1764"/>
                    </a:lnTo>
                    <a:lnTo>
                      <a:pt x="565" y="1772"/>
                    </a:lnTo>
                    <a:lnTo>
                      <a:pt x="559" y="1779"/>
                    </a:lnTo>
                    <a:lnTo>
                      <a:pt x="554" y="1787"/>
                    </a:lnTo>
                    <a:lnTo>
                      <a:pt x="548" y="1794"/>
                    </a:lnTo>
                    <a:lnTo>
                      <a:pt x="542" y="1799"/>
                    </a:lnTo>
                    <a:lnTo>
                      <a:pt x="534" y="1805"/>
                    </a:lnTo>
                    <a:lnTo>
                      <a:pt x="526" y="1809"/>
                    </a:lnTo>
                    <a:lnTo>
                      <a:pt x="518" y="1814"/>
                    </a:lnTo>
                    <a:lnTo>
                      <a:pt x="509" y="1817"/>
                    </a:lnTo>
                    <a:lnTo>
                      <a:pt x="500" y="1819"/>
                    </a:lnTo>
                    <a:lnTo>
                      <a:pt x="492" y="1820"/>
                    </a:lnTo>
                    <a:lnTo>
                      <a:pt x="482" y="1822"/>
                    </a:lnTo>
                    <a:lnTo>
                      <a:pt x="472" y="1820"/>
                    </a:lnTo>
                    <a:lnTo>
                      <a:pt x="463" y="1819"/>
                    </a:lnTo>
                    <a:lnTo>
                      <a:pt x="454" y="1817"/>
                    </a:lnTo>
                    <a:lnTo>
                      <a:pt x="445" y="1814"/>
                    </a:lnTo>
                    <a:lnTo>
                      <a:pt x="436" y="1809"/>
                    </a:lnTo>
                    <a:lnTo>
                      <a:pt x="428" y="1805"/>
                    </a:lnTo>
                    <a:lnTo>
                      <a:pt x="421" y="1799"/>
                    </a:lnTo>
                    <a:lnTo>
                      <a:pt x="415" y="1794"/>
                    </a:lnTo>
                    <a:lnTo>
                      <a:pt x="408" y="1787"/>
                    </a:lnTo>
                    <a:lnTo>
                      <a:pt x="403" y="1779"/>
                    </a:lnTo>
                    <a:lnTo>
                      <a:pt x="398" y="1772"/>
                    </a:lnTo>
                    <a:lnTo>
                      <a:pt x="394" y="1764"/>
                    </a:lnTo>
                    <a:lnTo>
                      <a:pt x="391" y="1755"/>
                    </a:lnTo>
                    <a:lnTo>
                      <a:pt x="389" y="1746"/>
                    </a:lnTo>
                    <a:lnTo>
                      <a:pt x="387" y="1736"/>
                    </a:lnTo>
                    <a:lnTo>
                      <a:pt x="387" y="1727"/>
                    </a:lnTo>
                    <a:close/>
                    <a:moveTo>
                      <a:pt x="387" y="1412"/>
                    </a:moveTo>
                    <a:lnTo>
                      <a:pt x="387" y="1412"/>
                    </a:lnTo>
                    <a:lnTo>
                      <a:pt x="387" y="1402"/>
                    </a:lnTo>
                    <a:lnTo>
                      <a:pt x="389" y="1392"/>
                    </a:lnTo>
                    <a:lnTo>
                      <a:pt x="391" y="1383"/>
                    </a:lnTo>
                    <a:lnTo>
                      <a:pt x="394" y="1375"/>
                    </a:lnTo>
                    <a:lnTo>
                      <a:pt x="398" y="1367"/>
                    </a:lnTo>
                    <a:lnTo>
                      <a:pt x="403" y="1359"/>
                    </a:lnTo>
                    <a:lnTo>
                      <a:pt x="408" y="1351"/>
                    </a:lnTo>
                    <a:lnTo>
                      <a:pt x="415" y="1344"/>
                    </a:lnTo>
                    <a:lnTo>
                      <a:pt x="421" y="1339"/>
                    </a:lnTo>
                    <a:lnTo>
                      <a:pt x="428" y="1333"/>
                    </a:lnTo>
                    <a:lnTo>
                      <a:pt x="436" y="1329"/>
                    </a:lnTo>
                    <a:lnTo>
                      <a:pt x="445" y="1324"/>
                    </a:lnTo>
                    <a:lnTo>
                      <a:pt x="454" y="1321"/>
                    </a:lnTo>
                    <a:lnTo>
                      <a:pt x="463" y="1319"/>
                    </a:lnTo>
                    <a:lnTo>
                      <a:pt x="472" y="1318"/>
                    </a:lnTo>
                    <a:lnTo>
                      <a:pt x="482" y="1318"/>
                    </a:lnTo>
                    <a:lnTo>
                      <a:pt x="492" y="1318"/>
                    </a:lnTo>
                    <a:lnTo>
                      <a:pt x="500" y="1319"/>
                    </a:lnTo>
                    <a:lnTo>
                      <a:pt x="509" y="1321"/>
                    </a:lnTo>
                    <a:lnTo>
                      <a:pt x="518" y="1324"/>
                    </a:lnTo>
                    <a:lnTo>
                      <a:pt x="526" y="1329"/>
                    </a:lnTo>
                    <a:lnTo>
                      <a:pt x="534" y="1333"/>
                    </a:lnTo>
                    <a:lnTo>
                      <a:pt x="542" y="1339"/>
                    </a:lnTo>
                    <a:lnTo>
                      <a:pt x="548" y="1344"/>
                    </a:lnTo>
                    <a:lnTo>
                      <a:pt x="554" y="1351"/>
                    </a:lnTo>
                    <a:lnTo>
                      <a:pt x="559" y="1359"/>
                    </a:lnTo>
                    <a:lnTo>
                      <a:pt x="565" y="1367"/>
                    </a:lnTo>
                    <a:lnTo>
                      <a:pt x="568" y="1375"/>
                    </a:lnTo>
                    <a:lnTo>
                      <a:pt x="572" y="1383"/>
                    </a:lnTo>
                    <a:lnTo>
                      <a:pt x="574" y="1392"/>
                    </a:lnTo>
                    <a:lnTo>
                      <a:pt x="575" y="1402"/>
                    </a:lnTo>
                    <a:lnTo>
                      <a:pt x="576" y="1412"/>
                    </a:lnTo>
                    <a:lnTo>
                      <a:pt x="575" y="1421"/>
                    </a:lnTo>
                    <a:lnTo>
                      <a:pt x="574" y="1431"/>
                    </a:lnTo>
                    <a:lnTo>
                      <a:pt x="572" y="1440"/>
                    </a:lnTo>
                    <a:lnTo>
                      <a:pt x="568" y="1449"/>
                    </a:lnTo>
                    <a:lnTo>
                      <a:pt x="565" y="1457"/>
                    </a:lnTo>
                    <a:lnTo>
                      <a:pt x="559" y="1465"/>
                    </a:lnTo>
                    <a:lnTo>
                      <a:pt x="554" y="1472"/>
                    </a:lnTo>
                    <a:lnTo>
                      <a:pt x="548" y="1479"/>
                    </a:lnTo>
                    <a:lnTo>
                      <a:pt x="542" y="1485"/>
                    </a:lnTo>
                    <a:lnTo>
                      <a:pt x="534" y="1490"/>
                    </a:lnTo>
                    <a:lnTo>
                      <a:pt x="526" y="1495"/>
                    </a:lnTo>
                    <a:lnTo>
                      <a:pt x="518" y="1499"/>
                    </a:lnTo>
                    <a:lnTo>
                      <a:pt x="509" y="1502"/>
                    </a:lnTo>
                    <a:lnTo>
                      <a:pt x="500" y="1505"/>
                    </a:lnTo>
                    <a:lnTo>
                      <a:pt x="492" y="1506"/>
                    </a:lnTo>
                    <a:lnTo>
                      <a:pt x="482" y="1507"/>
                    </a:lnTo>
                    <a:lnTo>
                      <a:pt x="472" y="1506"/>
                    </a:lnTo>
                    <a:lnTo>
                      <a:pt x="463" y="1505"/>
                    </a:lnTo>
                    <a:lnTo>
                      <a:pt x="454" y="1502"/>
                    </a:lnTo>
                    <a:lnTo>
                      <a:pt x="445" y="1499"/>
                    </a:lnTo>
                    <a:lnTo>
                      <a:pt x="436" y="1495"/>
                    </a:lnTo>
                    <a:lnTo>
                      <a:pt x="428" y="1490"/>
                    </a:lnTo>
                    <a:lnTo>
                      <a:pt x="421" y="1485"/>
                    </a:lnTo>
                    <a:lnTo>
                      <a:pt x="415" y="1479"/>
                    </a:lnTo>
                    <a:lnTo>
                      <a:pt x="408" y="1472"/>
                    </a:lnTo>
                    <a:lnTo>
                      <a:pt x="403" y="1465"/>
                    </a:lnTo>
                    <a:lnTo>
                      <a:pt x="398" y="1457"/>
                    </a:lnTo>
                    <a:lnTo>
                      <a:pt x="394" y="1449"/>
                    </a:lnTo>
                    <a:lnTo>
                      <a:pt x="391" y="1440"/>
                    </a:lnTo>
                    <a:lnTo>
                      <a:pt x="389" y="1431"/>
                    </a:lnTo>
                    <a:lnTo>
                      <a:pt x="387" y="1421"/>
                    </a:lnTo>
                    <a:lnTo>
                      <a:pt x="387" y="1412"/>
                    </a:lnTo>
                    <a:close/>
                    <a:moveTo>
                      <a:pt x="387" y="1097"/>
                    </a:moveTo>
                    <a:lnTo>
                      <a:pt x="387" y="1097"/>
                    </a:lnTo>
                    <a:lnTo>
                      <a:pt x="387" y="1088"/>
                    </a:lnTo>
                    <a:lnTo>
                      <a:pt x="389" y="1078"/>
                    </a:lnTo>
                    <a:lnTo>
                      <a:pt x="391" y="1069"/>
                    </a:lnTo>
                    <a:lnTo>
                      <a:pt x="394" y="1060"/>
                    </a:lnTo>
                    <a:lnTo>
                      <a:pt x="398" y="1052"/>
                    </a:lnTo>
                    <a:lnTo>
                      <a:pt x="403" y="1044"/>
                    </a:lnTo>
                    <a:lnTo>
                      <a:pt x="408" y="1036"/>
                    </a:lnTo>
                    <a:lnTo>
                      <a:pt x="415" y="1030"/>
                    </a:lnTo>
                    <a:lnTo>
                      <a:pt x="421" y="1024"/>
                    </a:lnTo>
                    <a:lnTo>
                      <a:pt x="428" y="1019"/>
                    </a:lnTo>
                    <a:lnTo>
                      <a:pt x="436" y="1014"/>
                    </a:lnTo>
                    <a:lnTo>
                      <a:pt x="445" y="1010"/>
                    </a:lnTo>
                    <a:lnTo>
                      <a:pt x="454" y="1006"/>
                    </a:lnTo>
                    <a:lnTo>
                      <a:pt x="463" y="1004"/>
                    </a:lnTo>
                    <a:lnTo>
                      <a:pt x="472" y="1003"/>
                    </a:lnTo>
                    <a:lnTo>
                      <a:pt x="482" y="1002"/>
                    </a:lnTo>
                    <a:lnTo>
                      <a:pt x="492" y="1003"/>
                    </a:lnTo>
                    <a:lnTo>
                      <a:pt x="500" y="1004"/>
                    </a:lnTo>
                    <a:lnTo>
                      <a:pt x="509" y="1006"/>
                    </a:lnTo>
                    <a:lnTo>
                      <a:pt x="518" y="1010"/>
                    </a:lnTo>
                    <a:lnTo>
                      <a:pt x="526" y="1014"/>
                    </a:lnTo>
                    <a:lnTo>
                      <a:pt x="534" y="1019"/>
                    </a:lnTo>
                    <a:lnTo>
                      <a:pt x="542" y="1024"/>
                    </a:lnTo>
                    <a:lnTo>
                      <a:pt x="548" y="1030"/>
                    </a:lnTo>
                    <a:lnTo>
                      <a:pt x="554" y="1036"/>
                    </a:lnTo>
                    <a:lnTo>
                      <a:pt x="559" y="1044"/>
                    </a:lnTo>
                    <a:lnTo>
                      <a:pt x="565" y="1052"/>
                    </a:lnTo>
                    <a:lnTo>
                      <a:pt x="568" y="1060"/>
                    </a:lnTo>
                    <a:lnTo>
                      <a:pt x="572" y="1069"/>
                    </a:lnTo>
                    <a:lnTo>
                      <a:pt x="574" y="1078"/>
                    </a:lnTo>
                    <a:lnTo>
                      <a:pt x="575" y="1088"/>
                    </a:lnTo>
                    <a:lnTo>
                      <a:pt x="576" y="1097"/>
                    </a:lnTo>
                    <a:lnTo>
                      <a:pt x="575" y="1107"/>
                    </a:lnTo>
                    <a:lnTo>
                      <a:pt x="574" y="1117"/>
                    </a:lnTo>
                    <a:lnTo>
                      <a:pt x="572" y="1125"/>
                    </a:lnTo>
                    <a:lnTo>
                      <a:pt x="568" y="1134"/>
                    </a:lnTo>
                    <a:lnTo>
                      <a:pt x="565" y="1142"/>
                    </a:lnTo>
                    <a:lnTo>
                      <a:pt x="559" y="1150"/>
                    </a:lnTo>
                    <a:lnTo>
                      <a:pt x="554" y="1158"/>
                    </a:lnTo>
                    <a:lnTo>
                      <a:pt x="548" y="1164"/>
                    </a:lnTo>
                    <a:lnTo>
                      <a:pt x="542" y="1170"/>
                    </a:lnTo>
                    <a:lnTo>
                      <a:pt x="534" y="1175"/>
                    </a:lnTo>
                    <a:lnTo>
                      <a:pt x="526" y="1180"/>
                    </a:lnTo>
                    <a:lnTo>
                      <a:pt x="518" y="1184"/>
                    </a:lnTo>
                    <a:lnTo>
                      <a:pt x="509" y="1188"/>
                    </a:lnTo>
                    <a:lnTo>
                      <a:pt x="500" y="1190"/>
                    </a:lnTo>
                    <a:lnTo>
                      <a:pt x="492" y="1191"/>
                    </a:lnTo>
                    <a:lnTo>
                      <a:pt x="482" y="1191"/>
                    </a:lnTo>
                    <a:lnTo>
                      <a:pt x="472" y="1191"/>
                    </a:lnTo>
                    <a:lnTo>
                      <a:pt x="463" y="1190"/>
                    </a:lnTo>
                    <a:lnTo>
                      <a:pt x="454" y="1188"/>
                    </a:lnTo>
                    <a:lnTo>
                      <a:pt x="445" y="1184"/>
                    </a:lnTo>
                    <a:lnTo>
                      <a:pt x="436" y="1180"/>
                    </a:lnTo>
                    <a:lnTo>
                      <a:pt x="428" y="1175"/>
                    </a:lnTo>
                    <a:lnTo>
                      <a:pt x="421" y="1170"/>
                    </a:lnTo>
                    <a:lnTo>
                      <a:pt x="415" y="1164"/>
                    </a:lnTo>
                    <a:lnTo>
                      <a:pt x="408" y="1158"/>
                    </a:lnTo>
                    <a:lnTo>
                      <a:pt x="403" y="1150"/>
                    </a:lnTo>
                    <a:lnTo>
                      <a:pt x="398" y="1142"/>
                    </a:lnTo>
                    <a:lnTo>
                      <a:pt x="394" y="1134"/>
                    </a:lnTo>
                    <a:lnTo>
                      <a:pt x="391" y="1125"/>
                    </a:lnTo>
                    <a:lnTo>
                      <a:pt x="389" y="1117"/>
                    </a:lnTo>
                    <a:lnTo>
                      <a:pt x="387" y="1107"/>
                    </a:lnTo>
                    <a:lnTo>
                      <a:pt x="387" y="1097"/>
                    </a:lnTo>
                    <a:close/>
                    <a:moveTo>
                      <a:pt x="387" y="782"/>
                    </a:moveTo>
                    <a:lnTo>
                      <a:pt x="387" y="782"/>
                    </a:lnTo>
                    <a:lnTo>
                      <a:pt x="387" y="773"/>
                    </a:lnTo>
                    <a:lnTo>
                      <a:pt x="389" y="763"/>
                    </a:lnTo>
                    <a:lnTo>
                      <a:pt x="391" y="754"/>
                    </a:lnTo>
                    <a:lnTo>
                      <a:pt x="394" y="745"/>
                    </a:lnTo>
                    <a:lnTo>
                      <a:pt x="398" y="737"/>
                    </a:lnTo>
                    <a:lnTo>
                      <a:pt x="403" y="730"/>
                    </a:lnTo>
                    <a:lnTo>
                      <a:pt x="408" y="722"/>
                    </a:lnTo>
                    <a:lnTo>
                      <a:pt x="415" y="715"/>
                    </a:lnTo>
                    <a:lnTo>
                      <a:pt x="421" y="710"/>
                    </a:lnTo>
                    <a:lnTo>
                      <a:pt x="428" y="704"/>
                    </a:lnTo>
                    <a:lnTo>
                      <a:pt x="436" y="699"/>
                    </a:lnTo>
                    <a:lnTo>
                      <a:pt x="445" y="695"/>
                    </a:lnTo>
                    <a:lnTo>
                      <a:pt x="454" y="692"/>
                    </a:lnTo>
                    <a:lnTo>
                      <a:pt x="463" y="689"/>
                    </a:lnTo>
                    <a:lnTo>
                      <a:pt x="472" y="688"/>
                    </a:lnTo>
                    <a:lnTo>
                      <a:pt x="482" y="687"/>
                    </a:lnTo>
                    <a:lnTo>
                      <a:pt x="492" y="688"/>
                    </a:lnTo>
                    <a:lnTo>
                      <a:pt x="500" y="689"/>
                    </a:lnTo>
                    <a:lnTo>
                      <a:pt x="509" y="692"/>
                    </a:lnTo>
                    <a:lnTo>
                      <a:pt x="518" y="695"/>
                    </a:lnTo>
                    <a:lnTo>
                      <a:pt x="526" y="699"/>
                    </a:lnTo>
                    <a:lnTo>
                      <a:pt x="534" y="704"/>
                    </a:lnTo>
                    <a:lnTo>
                      <a:pt x="542" y="710"/>
                    </a:lnTo>
                    <a:lnTo>
                      <a:pt x="548" y="715"/>
                    </a:lnTo>
                    <a:lnTo>
                      <a:pt x="554" y="722"/>
                    </a:lnTo>
                    <a:lnTo>
                      <a:pt x="559" y="730"/>
                    </a:lnTo>
                    <a:lnTo>
                      <a:pt x="565" y="737"/>
                    </a:lnTo>
                    <a:lnTo>
                      <a:pt x="568" y="745"/>
                    </a:lnTo>
                    <a:lnTo>
                      <a:pt x="572" y="754"/>
                    </a:lnTo>
                    <a:lnTo>
                      <a:pt x="574" y="763"/>
                    </a:lnTo>
                    <a:lnTo>
                      <a:pt x="575" y="773"/>
                    </a:lnTo>
                    <a:lnTo>
                      <a:pt x="576" y="782"/>
                    </a:lnTo>
                    <a:lnTo>
                      <a:pt x="575" y="792"/>
                    </a:lnTo>
                    <a:lnTo>
                      <a:pt x="574" y="801"/>
                    </a:lnTo>
                    <a:lnTo>
                      <a:pt x="572" y="811"/>
                    </a:lnTo>
                    <a:lnTo>
                      <a:pt x="568" y="818"/>
                    </a:lnTo>
                    <a:lnTo>
                      <a:pt x="565" y="827"/>
                    </a:lnTo>
                    <a:lnTo>
                      <a:pt x="559" y="835"/>
                    </a:lnTo>
                    <a:lnTo>
                      <a:pt x="554" y="842"/>
                    </a:lnTo>
                    <a:lnTo>
                      <a:pt x="548" y="849"/>
                    </a:lnTo>
                    <a:lnTo>
                      <a:pt x="542" y="855"/>
                    </a:lnTo>
                    <a:lnTo>
                      <a:pt x="534" y="861"/>
                    </a:lnTo>
                    <a:lnTo>
                      <a:pt x="526" y="865"/>
                    </a:lnTo>
                    <a:lnTo>
                      <a:pt x="518" y="870"/>
                    </a:lnTo>
                    <a:lnTo>
                      <a:pt x="509" y="872"/>
                    </a:lnTo>
                    <a:lnTo>
                      <a:pt x="500" y="875"/>
                    </a:lnTo>
                    <a:lnTo>
                      <a:pt x="492" y="876"/>
                    </a:lnTo>
                    <a:lnTo>
                      <a:pt x="482" y="876"/>
                    </a:lnTo>
                    <a:lnTo>
                      <a:pt x="472" y="876"/>
                    </a:lnTo>
                    <a:lnTo>
                      <a:pt x="463" y="875"/>
                    </a:lnTo>
                    <a:lnTo>
                      <a:pt x="454" y="872"/>
                    </a:lnTo>
                    <a:lnTo>
                      <a:pt x="445" y="870"/>
                    </a:lnTo>
                    <a:lnTo>
                      <a:pt x="436" y="865"/>
                    </a:lnTo>
                    <a:lnTo>
                      <a:pt x="428" y="861"/>
                    </a:lnTo>
                    <a:lnTo>
                      <a:pt x="421" y="855"/>
                    </a:lnTo>
                    <a:lnTo>
                      <a:pt x="415" y="849"/>
                    </a:lnTo>
                    <a:lnTo>
                      <a:pt x="408" y="842"/>
                    </a:lnTo>
                    <a:lnTo>
                      <a:pt x="403" y="835"/>
                    </a:lnTo>
                    <a:lnTo>
                      <a:pt x="398" y="827"/>
                    </a:lnTo>
                    <a:lnTo>
                      <a:pt x="394" y="818"/>
                    </a:lnTo>
                    <a:lnTo>
                      <a:pt x="391" y="811"/>
                    </a:lnTo>
                    <a:lnTo>
                      <a:pt x="389" y="801"/>
                    </a:lnTo>
                    <a:lnTo>
                      <a:pt x="387" y="792"/>
                    </a:lnTo>
                    <a:lnTo>
                      <a:pt x="387" y="782"/>
                    </a:lnTo>
                    <a:close/>
                    <a:moveTo>
                      <a:pt x="387" y="467"/>
                    </a:moveTo>
                    <a:lnTo>
                      <a:pt x="387" y="467"/>
                    </a:lnTo>
                    <a:lnTo>
                      <a:pt x="387" y="457"/>
                    </a:lnTo>
                    <a:lnTo>
                      <a:pt x="389" y="448"/>
                    </a:lnTo>
                    <a:lnTo>
                      <a:pt x="391" y="439"/>
                    </a:lnTo>
                    <a:lnTo>
                      <a:pt x="394" y="430"/>
                    </a:lnTo>
                    <a:lnTo>
                      <a:pt x="398" y="423"/>
                    </a:lnTo>
                    <a:lnTo>
                      <a:pt x="403" y="415"/>
                    </a:lnTo>
                    <a:lnTo>
                      <a:pt x="408" y="407"/>
                    </a:lnTo>
                    <a:lnTo>
                      <a:pt x="415" y="400"/>
                    </a:lnTo>
                    <a:lnTo>
                      <a:pt x="421" y="395"/>
                    </a:lnTo>
                    <a:lnTo>
                      <a:pt x="428" y="389"/>
                    </a:lnTo>
                    <a:lnTo>
                      <a:pt x="436" y="384"/>
                    </a:lnTo>
                    <a:lnTo>
                      <a:pt x="445" y="380"/>
                    </a:lnTo>
                    <a:lnTo>
                      <a:pt x="454" y="377"/>
                    </a:lnTo>
                    <a:lnTo>
                      <a:pt x="463" y="375"/>
                    </a:lnTo>
                    <a:lnTo>
                      <a:pt x="472" y="374"/>
                    </a:lnTo>
                    <a:lnTo>
                      <a:pt x="482" y="373"/>
                    </a:lnTo>
                    <a:lnTo>
                      <a:pt x="492" y="374"/>
                    </a:lnTo>
                    <a:lnTo>
                      <a:pt x="500" y="375"/>
                    </a:lnTo>
                    <a:lnTo>
                      <a:pt x="509" y="377"/>
                    </a:lnTo>
                    <a:lnTo>
                      <a:pt x="518" y="380"/>
                    </a:lnTo>
                    <a:lnTo>
                      <a:pt x="526" y="384"/>
                    </a:lnTo>
                    <a:lnTo>
                      <a:pt x="534" y="389"/>
                    </a:lnTo>
                    <a:lnTo>
                      <a:pt x="542" y="395"/>
                    </a:lnTo>
                    <a:lnTo>
                      <a:pt x="548" y="400"/>
                    </a:lnTo>
                    <a:lnTo>
                      <a:pt x="554" y="407"/>
                    </a:lnTo>
                    <a:lnTo>
                      <a:pt x="559" y="415"/>
                    </a:lnTo>
                    <a:lnTo>
                      <a:pt x="565" y="423"/>
                    </a:lnTo>
                    <a:lnTo>
                      <a:pt x="568" y="430"/>
                    </a:lnTo>
                    <a:lnTo>
                      <a:pt x="572" y="439"/>
                    </a:lnTo>
                    <a:lnTo>
                      <a:pt x="574" y="448"/>
                    </a:lnTo>
                    <a:lnTo>
                      <a:pt x="575" y="457"/>
                    </a:lnTo>
                    <a:lnTo>
                      <a:pt x="576" y="467"/>
                    </a:lnTo>
                    <a:lnTo>
                      <a:pt x="575" y="477"/>
                    </a:lnTo>
                    <a:lnTo>
                      <a:pt x="574" y="486"/>
                    </a:lnTo>
                    <a:lnTo>
                      <a:pt x="572" y="495"/>
                    </a:lnTo>
                    <a:lnTo>
                      <a:pt x="568" y="504"/>
                    </a:lnTo>
                    <a:lnTo>
                      <a:pt x="565" y="513"/>
                    </a:lnTo>
                    <a:lnTo>
                      <a:pt x="559" y="520"/>
                    </a:lnTo>
                    <a:lnTo>
                      <a:pt x="554" y="527"/>
                    </a:lnTo>
                    <a:lnTo>
                      <a:pt x="548" y="534"/>
                    </a:lnTo>
                    <a:lnTo>
                      <a:pt x="542" y="540"/>
                    </a:lnTo>
                    <a:lnTo>
                      <a:pt x="534" y="546"/>
                    </a:lnTo>
                    <a:lnTo>
                      <a:pt x="526" y="550"/>
                    </a:lnTo>
                    <a:lnTo>
                      <a:pt x="518" y="554"/>
                    </a:lnTo>
                    <a:lnTo>
                      <a:pt x="509" y="557"/>
                    </a:lnTo>
                    <a:lnTo>
                      <a:pt x="500" y="559"/>
                    </a:lnTo>
                    <a:lnTo>
                      <a:pt x="492" y="562"/>
                    </a:lnTo>
                    <a:lnTo>
                      <a:pt x="482" y="562"/>
                    </a:lnTo>
                    <a:lnTo>
                      <a:pt x="472" y="562"/>
                    </a:lnTo>
                    <a:lnTo>
                      <a:pt x="463" y="559"/>
                    </a:lnTo>
                    <a:lnTo>
                      <a:pt x="454" y="557"/>
                    </a:lnTo>
                    <a:lnTo>
                      <a:pt x="445" y="554"/>
                    </a:lnTo>
                    <a:lnTo>
                      <a:pt x="436" y="550"/>
                    </a:lnTo>
                    <a:lnTo>
                      <a:pt x="428" y="546"/>
                    </a:lnTo>
                    <a:lnTo>
                      <a:pt x="421" y="540"/>
                    </a:lnTo>
                    <a:lnTo>
                      <a:pt x="415" y="534"/>
                    </a:lnTo>
                    <a:lnTo>
                      <a:pt x="408" y="527"/>
                    </a:lnTo>
                    <a:lnTo>
                      <a:pt x="403" y="520"/>
                    </a:lnTo>
                    <a:lnTo>
                      <a:pt x="398" y="513"/>
                    </a:lnTo>
                    <a:lnTo>
                      <a:pt x="394" y="504"/>
                    </a:lnTo>
                    <a:lnTo>
                      <a:pt x="391" y="495"/>
                    </a:lnTo>
                    <a:lnTo>
                      <a:pt x="389" y="486"/>
                    </a:lnTo>
                    <a:lnTo>
                      <a:pt x="387" y="477"/>
                    </a:lnTo>
                    <a:lnTo>
                      <a:pt x="387" y="467"/>
                    </a:lnTo>
                    <a:close/>
                    <a:moveTo>
                      <a:pt x="1098" y="1419"/>
                    </a:moveTo>
                    <a:lnTo>
                      <a:pt x="2083" y="1419"/>
                    </a:lnTo>
                    <a:lnTo>
                      <a:pt x="2083" y="1508"/>
                    </a:lnTo>
                    <a:lnTo>
                      <a:pt x="1098" y="1508"/>
                    </a:lnTo>
                    <a:lnTo>
                      <a:pt x="1098" y="1419"/>
                    </a:lnTo>
                    <a:close/>
                    <a:moveTo>
                      <a:pt x="864" y="2423"/>
                    </a:moveTo>
                    <a:lnTo>
                      <a:pt x="2317" y="2423"/>
                    </a:lnTo>
                    <a:lnTo>
                      <a:pt x="2317" y="2512"/>
                    </a:lnTo>
                    <a:lnTo>
                      <a:pt x="864" y="2512"/>
                    </a:lnTo>
                    <a:lnTo>
                      <a:pt x="864" y="2423"/>
                    </a:lnTo>
                    <a:close/>
                    <a:moveTo>
                      <a:pt x="1098" y="2926"/>
                    </a:moveTo>
                    <a:lnTo>
                      <a:pt x="2083" y="2926"/>
                    </a:lnTo>
                    <a:lnTo>
                      <a:pt x="2083" y="3015"/>
                    </a:lnTo>
                    <a:lnTo>
                      <a:pt x="1098" y="3015"/>
                    </a:lnTo>
                    <a:lnTo>
                      <a:pt x="1098" y="2926"/>
                    </a:lnTo>
                    <a:close/>
                    <a:moveTo>
                      <a:pt x="864" y="1921"/>
                    </a:moveTo>
                    <a:lnTo>
                      <a:pt x="2317" y="1921"/>
                    </a:lnTo>
                    <a:lnTo>
                      <a:pt x="2317" y="2010"/>
                    </a:lnTo>
                    <a:lnTo>
                      <a:pt x="864" y="2010"/>
                    </a:lnTo>
                    <a:lnTo>
                      <a:pt x="864" y="1921"/>
                    </a:lnTo>
                    <a:close/>
                    <a:moveTo>
                      <a:pt x="2072" y="3435"/>
                    </a:moveTo>
                    <a:lnTo>
                      <a:pt x="2072" y="3435"/>
                    </a:lnTo>
                    <a:lnTo>
                      <a:pt x="2089" y="3436"/>
                    </a:lnTo>
                    <a:lnTo>
                      <a:pt x="2106" y="3437"/>
                    </a:lnTo>
                    <a:lnTo>
                      <a:pt x="2123" y="3440"/>
                    </a:lnTo>
                    <a:lnTo>
                      <a:pt x="2140" y="3443"/>
                    </a:lnTo>
                    <a:lnTo>
                      <a:pt x="2155" y="3447"/>
                    </a:lnTo>
                    <a:lnTo>
                      <a:pt x="2171" y="3453"/>
                    </a:lnTo>
                    <a:lnTo>
                      <a:pt x="2186" y="3460"/>
                    </a:lnTo>
                    <a:lnTo>
                      <a:pt x="2201" y="3466"/>
                    </a:lnTo>
                    <a:lnTo>
                      <a:pt x="2215" y="3474"/>
                    </a:lnTo>
                    <a:lnTo>
                      <a:pt x="2230" y="3483"/>
                    </a:lnTo>
                    <a:lnTo>
                      <a:pt x="2243" y="3492"/>
                    </a:lnTo>
                    <a:lnTo>
                      <a:pt x="2255" y="3502"/>
                    </a:lnTo>
                    <a:lnTo>
                      <a:pt x="2268" y="3513"/>
                    </a:lnTo>
                    <a:lnTo>
                      <a:pt x="2280" y="3524"/>
                    </a:lnTo>
                    <a:lnTo>
                      <a:pt x="2291" y="3536"/>
                    </a:lnTo>
                    <a:lnTo>
                      <a:pt x="2301" y="3549"/>
                    </a:lnTo>
                    <a:lnTo>
                      <a:pt x="1896" y="3953"/>
                    </a:lnTo>
                    <a:lnTo>
                      <a:pt x="1884" y="3943"/>
                    </a:lnTo>
                    <a:lnTo>
                      <a:pt x="1872" y="3932"/>
                    </a:lnTo>
                    <a:lnTo>
                      <a:pt x="1861" y="3920"/>
                    </a:lnTo>
                    <a:lnTo>
                      <a:pt x="1849" y="3908"/>
                    </a:lnTo>
                    <a:lnTo>
                      <a:pt x="1839" y="3896"/>
                    </a:lnTo>
                    <a:lnTo>
                      <a:pt x="1831" y="3882"/>
                    </a:lnTo>
                    <a:lnTo>
                      <a:pt x="1822" y="3868"/>
                    </a:lnTo>
                    <a:lnTo>
                      <a:pt x="1814" y="3854"/>
                    </a:lnTo>
                    <a:lnTo>
                      <a:pt x="1807" y="3839"/>
                    </a:lnTo>
                    <a:lnTo>
                      <a:pt x="1801" y="3823"/>
                    </a:lnTo>
                    <a:lnTo>
                      <a:pt x="1795" y="3808"/>
                    </a:lnTo>
                    <a:lnTo>
                      <a:pt x="1791" y="3792"/>
                    </a:lnTo>
                    <a:lnTo>
                      <a:pt x="1787" y="3775"/>
                    </a:lnTo>
                    <a:lnTo>
                      <a:pt x="1785" y="3759"/>
                    </a:lnTo>
                    <a:lnTo>
                      <a:pt x="1784" y="3741"/>
                    </a:lnTo>
                    <a:lnTo>
                      <a:pt x="1783" y="3724"/>
                    </a:lnTo>
                    <a:lnTo>
                      <a:pt x="1784" y="3709"/>
                    </a:lnTo>
                    <a:lnTo>
                      <a:pt x="1785" y="3694"/>
                    </a:lnTo>
                    <a:lnTo>
                      <a:pt x="1786" y="3680"/>
                    </a:lnTo>
                    <a:lnTo>
                      <a:pt x="1788" y="3665"/>
                    </a:lnTo>
                    <a:lnTo>
                      <a:pt x="1792" y="3652"/>
                    </a:lnTo>
                    <a:lnTo>
                      <a:pt x="1796" y="3639"/>
                    </a:lnTo>
                    <a:lnTo>
                      <a:pt x="1801" y="3625"/>
                    </a:lnTo>
                    <a:lnTo>
                      <a:pt x="1806" y="3612"/>
                    </a:lnTo>
                    <a:lnTo>
                      <a:pt x="1812" y="3599"/>
                    </a:lnTo>
                    <a:lnTo>
                      <a:pt x="1818" y="3586"/>
                    </a:lnTo>
                    <a:lnTo>
                      <a:pt x="1825" y="3574"/>
                    </a:lnTo>
                    <a:lnTo>
                      <a:pt x="1833" y="3563"/>
                    </a:lnTo>
                    <a:lnTo>
                      <a:pt x="1848" y="3541"/>
                    </a:lnTo>
                    <a:lnTo>
                      <a:pt x="1867" y="3520"/>
                    </a:lnTo>
                    <a:lnTo>
                      <a:pt x="1888" y="3502"/>
                    </a:lnTo>
                    <a:lnTo>
                      <a:pt x="1911" y="3485"/>
                    </a:lnTo>
                    <a:lnTo>
                      <a:pt x="1922" y="3477"/>
                    </a:lnTo>
                    <a:lnTo>
                      <a:pt x="1934" y="3471"/>
                    </a:lnTo>
                    <a:lnTo>
                      <a:pt x="1946" y="3464"/>
                    </a:lnTo>
                    <a:lnTo>
                      <a:pt x="1960" y="3459"/>
                    </a:lnTo>
                    <a:lnTo>
                      <a:pt x="1973" y="3453"/>
                    </a:lnTo>
                    <a:lnTo>
                      <a:pt x="1986" y="3449"/>
                    </a:lnTo>
                    <a:lnTo>
                      <a:pt x="2000" y="3444"/>
                    </a:lnTo>
                    <a:lnTo>
                      <a:pt x="2013" y="3442"/>
                    </a:lnTo>
                    <a:lnTo>
                      <a:pt x="2027" y="3439"/>
                    </a:lnTo>
                    <a:lnTo>
                      <a:pt x="2042" y="3437"/>
                    </a:lnTo>
                    <a:lnTo>
                      <a:pt x="2056" y="3436"/>
                    </a:lnTo>
                    <a:lnTo>
                      <a:pt x="2072" y="343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sz="11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</p:grpSp>
      <p:cxnSp>
        <p:nvCxnSpPr>
          <p:cNvPr id="100" name="Elbow Connector 99"/>
          <p:cNvCxnSpPr>
            <a:stCxn id="1715206" idx="3"/>
            <a:endCxn id="25" idx="1"/>
          </p:cNvCxnSpPr>
          <p:nvPr/>
        </p:nvCxnSpPr>
        <p:spPr>
          <a:xfrm>
            <a:off x="1529973" y="5154579"/>
            <a:ext cx="1832615" cy="920447"/>
          </a:xfrm>
          <a:prstGeom prst="bentConnector3">
            <a:avLst>
              <a:gd name="adj1" fmla="val 50000"/>
            </a:avLst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2" name="Group 51"/>
          <p:cNvGrpSpPr/>
          <p:nvPr/>
        </p:nvGrpSpPr>
        <p:grpSpPr>
          <a:xfrm>
            <a:off x="2140131" y="4669425"/>
            <a:ext cx="940609" cy="1292195"/>
            <a:chOff x="2144610" y="4846898"/>
            <a:chExt cx="940609" cy="1292195"/>
          </a:xfrm>
        </p:grpSpPr>
        <p:sp>
          <p:nvSpPr>
            <p:cNvPr id="104" name="Rectangle 103"/>
            <p:cNvSpPr/>
            <p:nvPr/>
          </p:nvSpPr>
          <p:spPr>
            <a:xfrm>
              <a:off x="2244150" y="4846898"/>
              <a:ext cx="739277" cy="129219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2144610" y="4902653"/>
              <a:ext cx="940609" cy="1083911"/>
              <a:chOff x="2144610" y="4902653"/>
              <a:chExt cx="940609" cy="1083911"/>
            </a:xfrm>
          </p:grpSpPr>
          <p:sp>
            <p:nvSpPr>
              <p:cNvPr id="49" name="TextBox 48"/>
              <p:cNvSpPr txBox="1"/>
              <p:nvPr/>
            </p:nvSpPr>
            <p:spPr>
              <a:xfrm>
                <a:off x="2144610" y="5478733"/>
                <a:ext cx="940609" cy="507831"/>
              </a:xfrm>
              <a:prstGeom prst="rect">
                <a:avLst/>
              </a:prstGeom>
              <a:noFill/>
            </p:spPr>
            <p:txBody>
              <a:bodyPr wrap="square" rtlCol="0">
                <a:noAutofit/>
              </a:bodyPr>
              <a:lstStyle/>
              <a:p>
                <a:pPr algn="ctr"/>
                <a:r>
                  <a:rPr lang="it-IT" sz="1050" i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</a:rPr>
                  <a:t>Pension and welfare allowances statement</a:t>
                </a:r>
              </a:p>
            </p:txBody>
          </p:sp>
          <p:sp>
            <p:nvSpPr>
              <p:cNvPr id="82" name="Freeform 83"/>
              <p:cNvSpPr>
                <a:spLocks noChangeAspect="1" noEditPoints="1"/>
              </p:cNvSpPr>
              <p:nvPr/>
            </p:nvSpPr>
            <p:spPr bwMode="auto">
              <a:xfrm>
                <a:off x="2421499" y="4902653"/>
                <a:ext cx="381029" cy="576000"/>
              </a:xfrm>
              <a:custGeom>
                <a:avLst/>
                <a:gdLst>
                  <a:gd name="T0" fmla="*/ 2147483647 w 3154"/>
                  <a:gd name="T1" fmla="*/ 2147483647 h 4763"/>
                  <a:gd name="T2" fmla="*/ 2147483647 w 3154"/>
                  <a:gd name="T3" fmla="*/ 2147483647 h 4763"/>
                  <a:gd name="T4" fmla="*/ 2147483647 w 3154"/>
                  <a:gd name="T5" fmla="*/ 2147483647 h 4763"/>
                  <a:gd name="T6" fmla="*/ 2147483647 w 3154"/>
                  <a:gd name="T7" fmla="*/ 2147483647 h 4763"/>
                  <a:gd name="T8" fmla="*/ 2147483647 w 3154"/>
                  <a:gd name="T9" fmla="*/ 2147483647 h 4763"/>
                  <a:gd name="T10" fmla="*/ 2147483647 w 3154"/>
                  <a:gd name="T11" fmla="*/ 2147483647 h 4763"/>
                  <a:gd name="T12" fmla="*/ 2147483647 w 3154"/>
                  <a:gd name="T13" fmla="*/ 2147483647 h 4763"/>
                  <a:gd name="T14" fmla="*/ 2147483647 w 3154"/>
                  <a:gd name="T15" fmla="*/ 2147483647 h 4763"/>
                  <a:gd name="T16" fmla="*/ 2147483647 w 3154"/>
                  <a:gd name="T17" fmla="*/ 2147483647 h 4763"/>
                  <a:gd name="T18" fmla="*/ 2147483647 w 3154"/>
                  <a:gd name="T19" fmla="*/ 2147483647 h 4763"/>
                  <a:gd name="T20" fmla="*/ 2147483647 w 3154"/>
                  <a:gd name="T21" fmla="*/ 2147483647 h 4763"/>
                  <a:gd name="T22" fmla="*/ 2147483647 w 3154"/>
                  <a:gd name="T23" fmla="*/ 2147483647 h 4763"/>
                  <a:gd name="T24" fmla="*/ 2147483647 w 3154"/>
                  <a:gd name="T25" fmla="*/ 2147483647 h 4763"/>
                  <a:gd name="T26" fmla="*/ 2147483647 w 3154"/>
                  <a:gd name="T27" fmla="*/ 2147483647 h 4763"/>
                  <a:gd name="T28" fmla="*/ 2147483647 w 3154"/>
                  <a:gd name="T29" fmla="*/ 2147483647 h 4763"/>
                  <a:gd name="T30" fmla="*/ 2147483647 w 3154"/>
                  <a:gd name="T31" fmla="*/ 2147483647 h 4763"/>
                  <a:gd name="T32" fmla="*/ 2147483647 w 3154"/>
                  <a:gd name="T33" fmla="*/ 2147483647 h 4763"/>
                  <a:gd name="T34" fmla="*/ 2147483647 w 3154"/>
                  <a:gd name="T35" fmla="*/ 2147483647 h 4763"/>
                  <a:gd name="T36" fmla="*/ 2147483647 w 3154"/>
                  <a:gd name="T37" fmla="*/ 2147483647 h 4763"/>
                  <a:gd name="T38" fmla="*/ 2147483647 w 3154"/>
                  <a:gd name="T39" fmla="*/ 2147483647 h 4763"/>
                  <a:gd name="T40" fmla="*/ 2147483647 w 3154"/>
                  <a:gd name="T41" fmla="*/ 2147483647 h 4763"/>
                  <a:gd name="T42" fmla="*/ 2147483647 w 3154"/>
                  <a:gd name="T43" fmla="*/ 2147483647 h 4763"/>
                  <a:gd name="T44" fmla="*/ 2147483647 w 3154"/>
                  <a:gd name="T45" fmla="*/ 2147483647 h 4763"/>
                  <a:gd name="T46" fmla="*/ 2147483647 w 3154"/>
                  <a:gd name="T47" fmla="*/ 2147483647 h 4763"/>
                  <a:gd name="T48" fmla="*/ 2147483647 w 3154"/>
                  <a:gd name="T49" fmla="*/ 2147483647 h 4763"/>
                  <a:gd name="T50" fmla="*/ 2147483647 w 3154"/>
                  <a:gd name="T51" fmla="*/ 2147483647 h 4763"/>
                  <a:gd name="T52" fmla="*/ 2147483647 w 3154"/>
                  <a:gd name="T53" fmla="*/ 2147483647 h 4763"/>
                  <a:gd name="T54" fmla="*/ 2147483647 w 3154"/>
                  <a:gd name="T55" fmla="*/ 2147483647 h 4763"/>
                  <a:gd name="T56" fmla="*/ 2147483647 w 3154"/>
                  <a:gd name="T57" fmla="*/ 2147483647 h 4763"/>
                  <a:gd name="T58" fmla="*/ 2147483647 w 3154"/>
                  <a:gd name="T59" fmla="*/ 2147483647 h 4763"/>
                  <a:gd name="T60" fmla="*/ 2147483647 w 3154"/>
                  <a:gd name="T61" fmla="*/ 2147483647 h 4763"/>
                  <a:gd name="T62" fmla="*/ 2147483647 w 3154"/>
                  <a:gd name="T63" fmla="*/ 2147483647 h 4763"/>
                  <a:gd name="T64" fmla="*/ 2147483647 w 3154"/>
                  <a:gd name="T65" fmla="*/ 2147483647 h 4763"/>
                  <a:gd name="T66" fmla="*/ 2147483647 w 3154"/>
                  <a:gd name="T67" fmla="*/ 2147483647 h 4763"/>
                  <a:gd name="T68" fmla="*/ 2147483647 w 3154"/>
                  <a:gd name="T69" fmla="*/ 2147483647 h 4763"/>
                  <a:gd name="T70" fmla="*/ 2147483647 w 3154"/>
                  <a:gd name="T71" fmla="*/ 2147483647 h 4763"/>
                  <a:gd name="T72" fmla="*/ 2147483647 w 3154"/>
                  <a:gd name="T73" fmla="*/ 2147483647 h 4763"/>
                  <a:gd name="T74" fmla="*/ 2147483647 w 3154"/>
                  <a:gd name="T75" fmla="*/ 2147483647 h 4763"/>
                  <a:gd name="T76" fmla="*/ 2147483647 w 3154"/>
                  <a:gd name="T77" fmla="*/ 2147483647 h 4763"/>
                  <a:gd name="T78" fmla="*/ 2147483647 w 3154"/>
                  <a:gd name="T79" fmla="*/ 2147483647 h 4763"/>
                  <a:gd name="T80" fmla="*/ 2147483647 w 3154"/>
                  <a:gd name="T81" fmla="*/ 2147483647 h 4763"/>
                  <a:gd name="T82" fmla="*/ 2147483647 w 3154"/>
                  <a:gd name="T83" fmla="*/ 2147483647 h 4763"/>
                  <a:gd name="T84" fmla="*/ 2147483647 w 3154"/>
                  <a:gd name="T85" fmla="*/ 2147483647 h 4763"/>
                  <a:gd name="T86" fmla="*/ 2147483647 w 3154"/>
                  <a:gd name="T87" fmla="*/ 2147483647 h 4763"/>
                  <a:gd name="T88" fmla="*/ 2147483647 w 3154"/>
                  <a:gd name="T89" fmla="*/ 2147483647 h 4763"/>
                  <a:gd name="T90" fmla="*/ 2147483647 w 3154"/>
                  <a:gd name="T91" fmla="*/ 2147483647 h 4763"/>
                  <a:gd name="T92" fmla="*/ 2147483647 w 3154"/>
                  <a:gd name="T93" fmla="*/ 2147483647 h 4763"/>
                  <a:gd name="T94" fmla="*/ 2147483647 w 3154"/>
                  <a:gd name="T95" fmla="*/ 2147483647 h 4763"/>
                  <a:gd name="T96" fmla="*/ 2147483647 w 3154"/>
                  <a:gd name="T97" fmla="*/ 2147483647 h 4763"/>
                  <a:gd name="T98" fmla="*/ 2147483647 w 3154"/>
                  <a:gd name="T99" fmla="*/ 2147483647 h 4763"/>
                  <a:gd name="T100" fmla="*/ 2147483647 w 3154"/>
                  <a:gd name="T101" fmla="*/ 2147483647 h 4763"/>
                  <a:gd name="T102" fmla="*/ 2147483647 w 3154"/>
                  <a:gd name="T103" fmla="*/ 2147483647 h 4763"/>
                  <a:gd name="T104" fmla="*/ 2147483647 w 3154"/>
                  <a:gd name="T105" fmla="*/ 2147483647 h 4763"/>
                  <a:gd name="T106" fmla="*/ 2147483647 w 3154"/>
                  <a:gd name="T107" fmla="*/ 2147483647 h 4763"/>
                  <a:gd name="T108" fmla="*/ 2147483647 w 3154"/>
                  <a:gd name="T109" fmla="*/ 2147483647 h 4763"/>
                  <a:gd name="T110" fmla="*/ 2147483647 w 3154"/>
                  <a:gd name="T111" fmla="*/ 2147483647 h 4763"/>
                  <a:gd name="T112" fmla="*/ 2147483647 w 3154"/>
                  <a:gd name="T113" fmla="*/ 2147483647 h 4763"/>
                  <a:gd name="T114" fmla="*/ 2147483647 w 3154"/>
                  <a:gd name="T115" fmla="*/ 2147483647 h 4763"/>
                  <a:gd name="T116" fmla="*/ 2147483647 w 3154"/>
                  <a:gd name="T117" fmla="*/ 2147483647 h 4763"/>
                  <a:gd name="T118" fmla="*/ 2147483647 w 3154"/>
                  <a:gd name="T119" fmla="*/ 2147483647 h 4763"/>
                  <a:gd name="T120" fmla="*/ 2147483647 w 3154"/>
                  <a:gd name="T121" fmla="*/ 2147483647 h 4763"/>
                  <a:gd name="T122" fmla="*/ 2147483647 w 3154"/>
                  <a:gd name="T123" fmla="*/ 2147483647 h 4763"/>
                  <a:gd name="T124" fmla="*/ 2147483647 w 3154"/>
                  <a:gd name="T125" fmla="*/ 2147483647 h 4763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3154"/>
                  <a:gd name="T190" fmla="*/ 0 h 4763"/>
                  <a:gd name="T191" fmla="*/ 3154 w 3154"/>
                  <a:gd name="T192" fmla="*/ 4763 h 4763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3154" h="4763">
                    <a:moveTo>
                      <a:pt x="2909" y="830"/>
                    </a:moveTo>
                    <a:lnTo>
                      <a:pt x="2331" y="250"/>
                    </a:lnTo>
                    <a:lnTo>
                      <a:pt x="2331" y="830"/>
                    </a:lnTo>
                    <a:lnTo>
                      <a:pt x="2909" y="830"/>
                    </a:lnTo>
                    <a:close/>
                    <a:moveTo>
                      <a:pt x="1700" y="4384"/>
                    </a:moveTo>
                    <a:lnTo>
                      <a:pt x="0" y="4384"/>
                    </a:lnTo>
                    <a:lnTo>
                      <a:pt x="0" y="0"/>
                    </a:lnTo>
                    <a:lnTo>
                      <a:pt x="2332" y="0"/>
                    </a:lnTo>
                    <a:lnTo>
                      <a:pt x="3154" y="823"/>
                    </a:lnTo>
                    <a:lnTo>
                      <a:pt x="3154" y="1008"/>
                    </a:lnTo>
                    <a:lnTo>
                      <a:pt x="3153" y="4384"/>
                    </a:lnTo>
                    <a:lnTo>
                      <a:pt x="2442" y="4384"/>
                    </a:lnTo>
                    <a:lnTo>
                      <a:pt x="2442" y="4763"/>
                    </a:lnTo>
                    <a:lnTo>
                      <a:pt x="2072" y="4565"/>
                    </a:lnTo>
                    <a:lnTo>
                      <a:pt x="1700" y="4763"/>
                    </a:lnTo>
                    <a:lnTo>
                      <a:pt x="1700" y="4384"/>
                    </a:lnTo>
                    <a:close/>
                    <a:moveTo>
                      <a:pt x="2072" y="3251"/>
                    </a:moveTo>
                    <a:lnTo>
                      <a:pt x="2072" y="3251"/>
                    </a:lnTo>
                    <a:lnTo>
                      <a:pt x="2096" y="3252"/>
                    </a:lnTo>
                    <a:lnTo>
                      <a:pt x="2120" y="3254"/>
                    </a:lnTo>
                    <a:lnTo>
                      <a:pt x="2144" y="3256"/>
                    </a:lnTo>
                    <a:lnTo>
                      <a:pt x="2168" y="3261"/>
                    </a:lnTo>
                    <a:lnTo>
                      <a:pt x="2190" y="3266"/>
                    </a:lnTo>
                    <a:lnTo>
                      <a:pt x="2212" y="3272"/>
                    </a:lnTo>
                    <a:lnTo>
                      <a:pt x="2234" y="3279"/>
                    </a:lnTo>
                    <a:lnTo>
                      <a:pt x="2255" y="3288"/>
                    </a:lnTo>
                    <a:lnTo>
                      <a:pt x="2277" y="3297"/>
                    </a:lnTo>
                    <a:lnTo>
                      <a:pt x="2298" y="3308"/>
                    </a:lnTo>
                    <a:lnTo>
                      <a:pt x="2317" y="3320"/>
                    </a:lnTo>
                    <a:lnTo>
                      <a:pt x="2337" y="3332"/>
                    </a:lnTo>
                    <a:lnTo>
                      <a:pt x="2354" y="3345"/>
                    </a:lnTo>
                    <a:lnTo>
                      <a:pt x="2372" y="3358"/>
                    </a:lnTo>
                    <a:lnTo>
                      <a:pt x="2390" y="3374"/>
                    </a:lnTo>
                    <a:lnTo>
                      <a:pt x="2407" y="3390"/>
                    </a:lnTo>
                    <a:lnTo>
                      <a:pt x="2422" y="3406"/>
                    </a:lnTo>
                    <a:lnTo>
                      <a:pt x="2437" y="3423"/>
                    </a:lnTo>
                    <a:lnTo>
                      <a:pt x="2451" y="3441"/>
                    </a:lnTo>
                    <a:lnTo>
                      <a:pt x="2464" y="3460"/>
                    </a:lnTo>
                    <a:lnTo>
                      <a:pt x="2477" y="3479"/>
                    </a:lnTo>
                    <a:lnTo>
                      <a:pt x="2488" y="3499"/>
                    </a:lnTo>
                    <a:lnTo>
                      <a:pt x="2498" y="3519"/>
                    </a:lnTo>
                    <a:lnTo>
                      <a:pt x="2508" y="3540"/>
                    </a:lnTo>
                    <a:lnTo>
                      <a:pt x="2516" y="3562"/>
                    </a:lnTo>
                    <a:lnTo>
                      <a:pt x="2523" y="3583"/>
                    </a:lnTo>
                    <a:lnTo>
                      <a:pt x="2530" y="3605"/>
                    </a:lnTo>
                    <a:lnTo>
                      <a:pt x="2536" y="3629"/>
                    </a:lnTo>
                    <a:lnTo>
                      <a:pt x="2539" y="3652"/>
                    </a:lnTo>
                    <a:lnTo>
                      <a:pt x="2542" y="3675"/>
                    </a:lnTo>
                    <a:lnTo>
                      <a:pt x="2545" y="3700"/>
                    </a:lnTo>
                    <a:lnTo>
                      <a:pt x="2545" y="3724"/>
                    </a:lnTo>
                    <a:lnTo>
                      <a:pt x="2545" y="3744"/>
                    </a:lnTo>
                    <a:lnTo>
                      <a:pt x="2543" y="3765"/>
                    </a:lnTo>
                    <a:lnTo>
                      <a:pt x="2541" y="3785"/>
                    </a:lnTo>
                    <a:lnTo>
                      <a:pt x="2538" y="3806"/>
                    </a:lnTo>
                    <a:lnTo>
                      <a:pt x="2535" y="3826"/>
                    </a:lnTo>
                    <a:lnTo>
                      <a:pt x="2529" y="3844"/>
                    </a:lnTo>
                    <a:lnTo>
                      <a:pt x="2523" y="3863"/>
                    </a:lnTo>
                    <a:lnTo>
                      <a:pt x="2518" y="3882"/>
                    </a:lnTo>
                    <a:lnTo>
                      <a:pt x="2511" y="3901"/>
                    </a:lnTo>
                    <a:lnTo>
                      <a:pt x="2503" y="3919"/>
                    </a:lnTo>
                    <a:lnTo>
                      <a:pt x="2495" y="3937"/>
                    </a:lnTo>
                    <a:lnTo>
                      <a:pt x="2486" y="3953"/>
                    </a:lnTo>
                    <a:lnTo>
                      <a:pt x="2476" y="3970"/>
                    </a:lnTo>
                    <a:lnTo>
                      <a:pt x="2466" y="3987"/>
                    </a:lnTo>
                    <a:lnTo>
                      <a:pt x="2454" y="4002"/>
                    </a:lnTo>
                    <a:lnTo>
                      <a:pt x="2442" y="4018"/>
                    </a:lnTo>
                    <a:lnTo>
                      <a:pt x="2442" y="4206"/>
                    </a:lnTo>
                    <a:lnTo>
                      <a:pt x="2975" y="4206"/>
                    </a:lnTo>
                    <a:lnTo>
                      <a:pt x="2976" y="1008"/>
                    </a:lnTo>
                    <a:lnTo>
                      <a:pt x="2756" y="1008"/>
                    </a:lnTo>
                    <a:lnTo>
                      <a:pt x="2765" y="1014"/>
                    </a:lnTo>
                    <a:lnTo>
                      <a:pt x="2771" y="1022"/>
                    </a:lnTo>
                    <a:lnTo>
                      <a:pt x="2778" y="1031"/>
                    </a:lnTo>
                    <a:lnTo>
                      <a:pt x="2784" y="1040"/>
                    </a:lnTo>
                    <a:lnTo>
                      <a:pt x="2788" y="1050"/>
                    </a:lnTo>
                    <a:lnTo>
                      <a:pt x="2791" y="1061"/>
                    </a:lnTo>
                    <a:lnTo>
                      <a:pt x="2794" y="1072"/>
                    </a:lnTo>
                    <a:lnTo>
                      <a:pt x="2794" y="1083"/>
                    </a:lnTo>
                    <a:lnTo>
                      <a:pt x="2794" y="1093"/>
                    </a:lnTo>
                    <a:lnTo>
                      <a:pt x="2793" y="1102"/>
                    </a:lnTo>
                    <a:lnTo>
                      <a:pt x="2790" y="1111"/>
                    </a:lnTo>
                    <a:lnTo>
                      <a:pt x="2787" y="1120"/>
                    </a:lnTo>
                    <a:lnTo>
                      <a:pt x="2783" y="1128"/>
                    </a:lnTo>
                    <a:lnTo>
                      <a:pt x="2778" y="1135"/>
                    </a:lnTo>
                    <a:lnTo>
                      <a:pt x="2773" y="1143"/>
                    </a:lnTo>
                    <a:lnTo>
                      <a:pt x="2767" y="1150"/>
                    </a:lnTo>
                    <a:lnTo>
                      <a:pt x="2759" y="1157"/>
                    </a:lnTo>
                    <a:lnTo>
                      <a:pt x="2753" y="1161"/>
                    </a:lnTo>
                    <a:lnTo>
                      <a:pt x="2745" y="1167"/>
                    </a:lnTo>
                    <a:lnTo>
                      <a:pt x="2736" y="1170"/>
                    </a:lnTo>
                    <a:lnTo>
                      <a:pt x="2728" y="1173"/>
                    </a:lnTo>
                    <a:lnTo>
                      <a:pt x="2719" y="1175"/>
                    </a:lnTo>
                    <a:lnTo>
                      <a:pt x="2709" y="1177"/>
                    </a:lnTo>
                    <a:lnTo>
                      <a:pt x="2699" y="1178"/>
                    </a:lnTo>
                    <a:lnTo>
                      <a:pt x="2690" y="1177"/>
                    </a:lnTo>
                    <a:lnTo>
                      <a:pt x="2680" y="1175"/>
                    </a:lnTo>
                    <a:lnTo>
                      <a:pt x="2671" y="1173"/>
                    </a:lnTo>
                    <a:lnTo>
                      <a:pt x="2662" y="1170"/>
                    </a:lnTo>
                    <a:lnTo>
                      <a:pt x="2655" y="1167"/>
                    </a:lnTo>
                    <a:lnTo>
                      <a:pt x="2647" y="1161"/>
                    </a:lnTo>
                    <a:lnTo>
                      <a:pt x="2639" y="1157"/>
                    </a:lnTo>
                    <a:lnTo>
                      <a:pt x="2632" y="1150"/>
                    </a:lnTo>
                    <a:lnTo>
                      <a:pt x="2627" y="1143"/>
                    </a:lnTo>
                    <a:lnTo>
                      <a:pt x="2621" y="1135"/>
                    </a:lnTo>
                    <a:lnTo>
                      <a:pt x="2617" y="1128"/>
                    </a:lnTo>
                    <a:lnTo>
                      <a:pt x="2612" y="1120"/>
                    </a:lnTo>
                    <a:lnTo>
                      <a:pt x="2609" y="1111"/>
                    </a:lnTo>
                    <a:lnTo>
                      <a:pt x="2607" y="1102"/>
                    </a:lnTo>
                    <a:lnTo>
                      <a:pt x="2606" y="1093"/>
                    </a:lnTo>
                    <a:lnTo>
                      <a:pt x="2605" y="1083"/>
                    </a:lnTo>
                    <a:lnTo>
                      <a:pt x="2606" y="1072"/>
                    </a:lnTo>
                    <a:lnTo>
                      <a:pt x="2608" y="1061"/>
                    </a:lnTo>
                    <a:lnTo>
                      <a:pt x="2611" y="1050"/>
                    </a:lnTo>
                    <a:lnTo>
                      <a:pt x="2616" y="1040"/>
                    </a:lnTo>
                    <a:lnTo>
                      <a:pt x="2621" y="1031"/>
                    </a:lnTo>
                    <a:lnTo>
                      <a:pt x="2627" y="1022"/>
                    </a:lnTo>
                    <a:lnTo>
                      <a:pt x="2635" y="1014"/>
                    </a:lnTo>
                    <a:lnTo>
                      <a:pt x="2644" y="1008"/>
                    </a:lnTo>
                    <a:lnTo>
                      <a:pt x="2153" y="1008"/>
                    </a:lnTo>
                    <a:lnTo>
                      <a:pt x="2153" y="178"/>
                    </a:lnTo>
                    <a:lnTo>
                      <a:pt x="178" y="178"/>
                    </a:lnTo>
                    <a:lnTo>
                      <a:pt x="178" y="4206"/>
                    </a:lnTo>
                    <a:lnTo>
                      <a:pt x="1700" y="4206"/>
                    </a:lnTo>
                    <a:lnTo>
                      <a:pt x="1700" y="4018"/>
                    </a:lnTo>
                    <a:lnTo>
                      <a:pt x="1689" y="4002"/>
                    </a:lnTo>
                    <a:lnTo>
                      <a:pt x="1678" y="3987"/>
                    </a:lnTo>
                    <a:lnTo>
                      <a:pt x="1667" y="3970"/>
                    </a:lnTo>
                    <a:lnTo>
                      <a:pt x="1657" y="3953"/>
                    </a:lnTo>
                    <a:lnTo>
                      <a:pt x="1648" y="3937"/>
                    </a:lnTo>
                    <a:lnTo>
                      <a:pt x="1640" y="3919"/>
                    </a:lnTo>
                    <a:lnTo>
                      <a:pt x="1633" y="3901"/>
                    </a:lnTo>
                    <a:lnTo>
                      <a:pt x="1626" y="3882"/>
                    </a:lnTo>
                    <a:lnTo>
                      <a:pt x="1619" y="3863"/>
                    </a:lnTo>
                    <a:lnTo>
                      <a:pt x="1614" y="3844"/>
                    </a:lnTo>
                    <a:lnTo>
                      <a:pt x="1609" y="3826"/>
                    </a:lnTo>
                    <a:lnTo>
                      <a:pt x="1606" y="3806"/>
                    </a:lnTo>
                    <a:lnTo>
                      <a:pt x="1603" y="3785"/>
                    </a:lnTo>
                    <a:lnTo>
                      <a:pt x="1600" y="3765"/>
                    </a:lnTo>
                    <a:lnTo>
                      <a:pt x="1599" y="3744"/>
                    </a:lnTo>
                    <a:lnTo>
                      <a:pt x="1598" y="3724"/>
                    </a:lnTo>
                    <a:lnTo>
                      <a:pt x="1599" y="3700"/>
                    </a:lnTo>
                    <a:lnTo>
                      <a:pt x="1600" y="3675"/>
                    </a:lnTo>
                    <a:lnTo>
                      <a:pt x="1604" y="3652"/>
                    </a:lnTo>
                    <a:lnTo>
                      <a:pt x="1608" y="3629"/>
                    </a:lnTo>
                    <a:lnTo>
                      <a:pt x="1614" y="3605"/>
                    </a:lnTo>
                    <a:lnTo>
                      <a:pt x="1619" y="3583"/>
                    </a:lnTo>
                    <a:lnTo>
                      <a:pt x="1627" y="3562"/>
                    </a:lnTo>
                    <a:lnTo>
                      <a:pt x="1636" y="3540"/>
                    </a:lnTo>
                    <a:lnTo>
                      <a:pt x="1645" y="3519"/>
                    </a:lnTo>
                    <a:lnTo>
                      <a:pt x="1656" y="3499"/>
                    </a:lnTo>
                    <a:lnTo>
                      <a:pt x="1667" y="3479"/>
                    </a:lnTo>
                    <a:lnTo>
                      <a:pt x="1679" y="3460"/>
                    </a:lnTo>
                    <a:lnTo>
                      <a:pt x="1693" y="3441"/>
                    </a:lnTo>
                    <a:lnTo>
                      <a:pt x="1706" y="3423"/>
                    </a:lnTo>
                    <a:lnTo>
                      <a:pt x="1722" y="3406"/>
                    </a:lnTo>
                    <a:lnTo>
                      <a:pt x="1737" y="3390"/>
                    </a:lnTo>
                    <a:lnTo>
                      <a:pt x="1754" y="3374"/>
                    </a:lnTo>
                    <a:lnTo>
                      <a:pt x="1771" y="3358"/>
                    </a:lnTo>
                    <a:lnTo>
                      <a:pt x="1788" y="3345"/>
                    </a:lnTo>
                    <a:lnTo>
                      <a:pt x="1807" y="3332"/>
                    </a:lnTo>
                    <a:lnTo>
                      <a:pt x="1826" y="3320"/>
                    </a:lnTo>
                    <a:lnTo>
                      <a:pt x="1846" y="3308"/>
                    </a:lnTo>
                    <a:lnTo>
                      <a:pt x="1866" y="3297"/>
                    </a:lnTo>
                    <a:lnTo>
                      <a:pt x="1887" y="3288"/>
                    </a:lnTo>
                    <a:lnTo>
                      <a:pt x="1908" y="3279"/>
                    </a:lnTo>
                    <a:lnTo>
                      <a:pt x="1931" y="3272"/>
                    </a:lnTo>
                    <a:lnTo>
                      <a:pt x="1953" y="3266"/>
                    </a:lnTo>
                    <a:lnTo>
                      <a:pt x="1976" y="3261"/>
                    </a:lnTo>
                    <a:lnTo>
                      <a:pt x="2000" y="3256"/>
                    </a:lnTo>
                    <a:lnTo>
                      <a:pt x="2023" y="3254"/>
                    </a:lnTo>
                    <a:lnTo>
                      <a:pt x="2047" y="3252"/>
                    </a:lnTo>
                    <a:lnTo>
                      <a:pt x="2072" y="3251"/>
                    </a:lnTo>
                    <a:close/>
                    <a:moveTo>
                      <a:pt x="2072" y="3340"/>
                    </a:moveTo>
                    <a:lnTo>
                      <a:pt x="2072" y="3340"/>
                    </a:lnTo>
                    <a:lnTo>
                      <a:pt x="2052" y="3341"/>
                    </a:lnTo>
                    <a:lnTo>
                      <a:pt x="2032" y="3342"/>
                    </a:lnTo>
                    <a:lnTo>
                      <a:pt x="2013" y="3344"/>
                    </a:lnTo>
                    <a:lnTo>
                      <a:pt x="1994" y="3347"/>
                    </a:lnTo>
                    <a:lnTo>
                      <a:pt x="1975" y="3352"/>
                    </a:lnTo>
                    <a:lnTo>
                      <a:pt x="1957" y="3357"/>
                    </a:lnTo>
                    <a:lnTo>
                      <a:pt x="1940" y="3363"/>
                    </a:lnTo>
                    <a:lnTo>
                      <a:pt x="1922" y="3370"/>
                    </a:lnTo>
                    <a:lnTo>
                      <a:pt x="1905" y="3377"/>
                    </a:lnTo>
                    <a:lnTo>
                      <a:pt x="1888" y="3386"/>
                    </a:lnTo>
                    <a:lnTo>
                      <a:pt x="1873" y="3395"/>
                    </a:lnTo>
                    <a:lnTo>
                      <a:pt x="1857" y="3405"/>
                    </a:lnTo>
                    <a:lnTo>
                      <a:pt x="1842" y="3416"/>
                    </a:lnTo>
                    <a:lnTo>
                      <a:pt x="1827" y="3427"/>
                    </a:lnTo>
                    <a:lnTo>
                      <a:pt x="1813" y="3440"/>
                    </a:lnTo>
                    <a:lnTo>
                      <a:pt x="1799" y="3453"/>
                    </a:lnTo>
                    <a:lnTo>
                      <a:pt x="1787" y="3466"/>
                    </a:lnTo>
                    <a:lnTo>
                      <a:pt x="1775" y="3480"/>
                    </a:lnTo>
                    <a:lnTo>
                      <a:pt x="1764" y="3494"/>
                    </a:lnTo>
                    <a:lnTo>
                      <a:pt x="1753" y="3510"/>
                    </a:lnTo>
                    <a:lnTo>
                      <a:pt x="1743" y="3525"/>
                    </a:lnTo>
                    <a:lnTo>
                      <a:pt x="1734" y="3541"/>
                    </a:lnTo>
                    <a:lnTo>
                      <a:pt x="1725" y="3558"/>
                    </a:lnTo>
                    <a:lnTo>
                      <a:pt x="1717" y="3574"/>
                    </a:lnTo>
                    <a:lnTo>
                      <a:pt x="1710" y="3592"/>
                    </a:lnTo>
                    <a:lnTo>
                      <a:pt x="1705" y="3610"/>
                    </a:lnTo>
                    <a:lnTo>
                      <a:pt x="1699" y="3628"/>
                    </a:lnTo>
                    <a:lnTo>
                      <a:pt x="1695" y="3646"/>
                    </a:lnTo>
                    <a:lnTo>
                      <a:pt x="1692" y="3665"/>
                    </a:lnTo>
                    <a:lnTo>
                      <a:pt x="1689" y="3684"/>
                    </a:lnTo>
                    <a:lnTo>
                      <a:pt x="1688" y="3704"/>
                    </a:lnTo>
                    <a:lnTo>
                      <a:pt x="1687" y="3724"/>
                    </a:lnTo>
                    <a:lnTo>
                      <a:pt x="1688" y="3757"/>
                    </a:lnTo>
                    <a:lnTo>
                      <a:pt x="1693" y="3788"/>
                    </a:lnTo>
                    <a:lnTo>
                      <a:pt x="1699" y="3818"/>
                    </a:lnTo>
                    <a:lnTo>
                      <a:pt x="1707" y="3848"/>
                    </a:lnTo>
                    <a:lnTo>
                      <a:pt x="1718" y="3876"/>
                    </a:lnTo>
                    <a:lnTo>
                      <a:pt x="1732" y="3903"/>
                    </a:lnTo>
                    <a:lnTo>
                      <a:pt x="1747" y="3929"/>
                    </a:lnTo>
                    <a:lnTo>
                      <a:pt x="1764" y="3955"/>
                    </a:lnTo>
                    <a:lnTo>
                      <a:pt x="1794" y="3986"/>
                    </a:lnTo>
                    <a:lnTo>
                      <a:pt x="1808" y="4000"/>
                    </a:lnTo>
                    <a:lnTo>
                      <a:pt x="1824" y="4015"/>
                    </a:lnTo>
                    <a:lnTo>
                      <a:pt x="1839" y="4028"/>
                    </a:lnTo>
                    <a:lnTo>
                      <a:pt x="1856" y="4040"/>
                    </a:lnTo>
                    <a:lnTo>
                      <a:pt x="1873" y="4052"/>
                    </a:lnTo>
                    <a:lnTo>
                      <a:pt x="1890" y="4062"/>
                    </a:lnTo>
                    <a:lnTo>
                      <a:pt x="1911" y="4072"/>
                    </a:lnTo>
                    <a:lnTo>
                      <a:pt x="1932" y="4082"/>
                    </a:lnTo>
                    <a:lnTo>
                      <a:pt x="1953" y="4090"/>
                    </a:lnTo>
                    <a:lnTo>
                      <a:pt x="1976" y="4096"/>
                    </a:lnTo>
                    <a:lnTo>
                      <a:pt x="1998" y="4101"/>
                    </a:lnTo>
                    <a:lnTo>
                      <a:pt x="2022" y="4105"/>
                    </a:lnTo>
                    <a:lnTo>
                      <a:pt x="2046" y="4108"/>
                    </a:lnTo>
                    <a:lnTo>
                      <a:pt x="2071" y="4108"/>
                    </a:lnTo>
                    <a:lnTo>
                      <a:pt x="2072" y="4108"/>
                    </a:lnTo>
                    <a:lnTo>
                      <a:pt x="2096" y="4108"/>
                    </a:lnTo>
                    <a:lnTo>
                      <a:pt x="2121" y="4105"/>
                    </a:lnTo>
                    <a:lnTo>
                      <a:pt x="2144" y="4101"/>
                    </a:lnTo>
                    <a:lnTo>
                      <a:pt x="2168" y="4096"/>
                    </a:lnTo>
                    <a:lnTo>
                      <a:pt x="2190" y="4090"/>
                    </a:lnTo>
                    <a:lnTo>
                      <a:pt x="2212" y="4082"/>
                    </a:lnTo>
                    <a:lnTo>
                      <a:pt x="2233" y="4072"/>
                    </a:lnTo>
                    <a:lnTo>
                      <a:pt x="2253" y="4062"/>
                    </a:lnTo>
                    <a:lnTo>
                      <a:pt x="2271" y="4052"/>
                    </a:lnTo>
                    <a:lnTo>
                      <a:pt x="2288" y="4040"/>
                    </a:lnTo>
                    <a:lnTo>
                      <a:pt x="2303" y="4028"/>
                    </a:lnTo>
                    <a:lnTo>
                      <a:pt x="2319" y="4015"/>
                    </a:lnTo>
                    <a:lnTo>
                      <a:pt x="2334" y="4000"/>
                    </a:lnTo>
                    <a:lnTo>
                      <a:pt x="2350" y="3986"/>
                    </a:lnTo>
                    <a:lnTo>
                      <a:pt x="2379" y="3955"/>
                    </a:lnTo>
                    <a:lnTo>
                      <a:pt x="2397" y="3929"/>
                    </a:lnTo>
                    <a:lnTo>
                      <a:pt x="2411" y="3903"/>
                    </a:lnTo>
                    <a:lnTo>
                      <a:pt x="2424" y="3876"/>
                    </a:lnTo>
                    <a:lnTo>
                      <a:pt x="2436" y="3848"/>
                    </a:lnTo>
                    <a:lnTo>
                      <a:pt x="2444" y="3818"/>
                    </a:lnTo>
                    <a:lnTo>
                      <a:pt x="2451" y="3788"/>
                    </a:lnTo>
                    <a:lnTo>
                      <a:pt x="2454" y="3757"/>
                    </a:lnTo>
                    <a:lnTo>
                      <a:pt x="2456" y="3724"/>
                    </a:lnTo>
                    <a:lnTo>
                      <a:pt x="2456" y="3704"/>
                    </a:lnTo>
                    <a:lnTo>
                      <a:pt x="2453" y="3684"/>
                    </a:lnTo>
                    <a:lnTo>
                      <a:pt x="2451" y="3665"/>
                    </a:lnTo>
                    <a:lnTo>
                      <a:pt x="2448" y="3646"/>
                    </a:lnTo>
                    <a:lnTo>
                      <a:pt x="2443" y="3628"/>
                    </a:lnTo>
                    <a:lnTo>
                      <a:pt x="2439" y="3610"/>
                    </a:lnTo>
                    <a:lnTo>
                      <a:pt x="2432" y="3592"/>
                    </a:lnTo>
                    <a:lnTo>
                      <a:pt x="2426" y="3574"/>
                    </a:lnTo>
                    <a:lnTo>
                      <a:pt x="2418" y="3558"/>
                    </a:lnTo>
                    <a:lnTo>
                      <a:pt x="2410" y="3541"/>
                    </a:lnTo>
                    <a:lnTo>
                      <a:pt x="2400" y="3525"/>
                    </a:lnTo>
                    <a:lnTo>
                      <a:pt x="2390" y="3510"/>
                    </a:lnTo>
                    <a:lnTo>
                      <a:pt x="2380" y="3494"/>
                    </a:lnTo>
                    <a:lnTo>
                      <a:pt x="2368" y="3480"/>
                    </a:lnTo>
                    <a:lnTo>
                      <a:pt x="2355" y="3466"/>
                    </a:lnTo>
                    <a:lnTo>
                      <a:pt x="2343" y="3453"/>
                    </a:lnTo>
                    <a:lnTo>
                      <a:pt x="2330" y="3440"/>
                    </a:lnTo>
                    <a:lnTo>
                      <a:pt x="2317" y="3427"/>
                    </a:lnTo>
                    <a:lnTo>
                      <a:pt x="2301" y="3416"/>
                    </a:lnTo>
                    <a:lnTo>
                      <a:pt x="2287" y="3405"/>
                    </a:lnTo>
                    <a:lnTo>
                      <a:pt x="2271" y="3395"/>
                    </a:lnTo>
                    <a:lnTo>
                      <a:pt x="2254" y="3386"/>
                    </a:lnTo>
                    <a:lnTo>
                      <a:pt x="2239" y="3377"/>
                    </a:lnTo>
                    <a:lnTo>
                      <a:pt x="2221" y="3370"/>
                    </a:lnTo>
                    <a:lnTo>
                      <a:pt x="2204" y="3363"/>
                    </a:lnTo>
                    <a:lnTo>
                      <a:pt x="2186" y="3357"/>
                    </a:lnTo>
                    <a:lnTo>
                      <a:pt x="2168" y="3352"/>
                    </a:lnTo>
                    <a:lnTo>
                      <a:pt x="2149" y="3347"/>
                    </a:lnTo>
                    <a:lnTo>
                      <a:pt x="2130" y="3344"/>
                    </a:lnTo>
                    <a:lnTo>
                      <a:pt x="2111" y="3342"/>
                    </a:lnTo>
                    <a:lnTo>
                      <a:pt x="2092" y="3341"/>
                    </a:lnTo>
                    <a:lnTo>
                      <a:pt x="2072" y="3340"/>
                    </a:lnTo>
                    <a:close/>
                    <a:moveTo>
                      <a:pt x="702" y="467"/>
                    </a:moveTo>
                    <a:lnTo>
                      <a:pt x="702" y="467"/>
                    </a:lnTo>
                    <a:lnTo>
                      <a:pt x="702" y="457"/>
                    </a:lnTo>
                    <a:lnTo>
                      <a:pt x="704" y="448"/>
                    </a:lnTo>
                    <a:lnTo>
                      <a:pt x="706" y="439"/>
                    </a:lnTo>
                    <a:lnTo>
                      <a:pt x="710" y="430"/>
                    </a:lnTo>
                    <a:lnTo>
                      <a:pt x="713" y="423"/>
                    </a:lnTo>
                    <a:lnTo>
                      <a:pt x="717" y="415"/>
                    </a:lnTo>
                    <a:lnTo>
                      <a:pt x="723" y="407"/>
                    </a:lnTo>
                    <a:lnTo>
                      <a:pt x="730" y="400"/>
                    </a:lnTo>
                    <a:lnTo>
                      <a:pt x="736" y="395"/>
                    </a:lnTo>
                    <a:lnTo>
                      <a:pt x="743" y="389"/>
                    </a:lnTo>
                    <a:lnTo>
                      <a:pt x="751" y="384"/>
                    </a:lnTo>
                    <a:lnTo>
                      <a:pt x="760" y="380"/>
                    </a:lnTo>
                    <a:lnTo>
                      <a:pt x="768" y="377"/>
                    </a:lnTo>
                    <a:lnTo>
                      <a:pt x="777" y="375"/>
                    </a:lnTo>
                    <a:lnTo>
                      <a:pt x="786" y="374"/>
                    </a:lnTo>
                    <a:lnTo>
                      <a:pt x="796" y="373"/>
                    </a:lnTo>
                    <a:lnTo>
                      <a:pt x="806" y="374"/>
                    </a:lnTo>
                    <a:lnTo>
                      <a:pt x="815" y="375"/>
                    </a:lnTo>
                    <a:lnTo>
                      <a:pt x="824" y="377"/>
                    </a:lnTo>
                    <a:lnTo>
                      <a:pt x="833" y="380"/>
                    </a:lnTo>
                    <a:lnTo>
                      <a:pt x="842" y="384"/>
                    </a:lnTo>
                    <a:lnTo>
                      <a:pt x="850" y="389"/>
                    </a:lnTo>
                    <a:lnTo>
                      <a:pt x="856" y="395"/>
                    </a:lnTo>
                    <a:lnTo>
                      <a:pt x="863" y="400"/>
                    </a:lnTo>
                    <a:lnTo>
                      <a:pt x="870" y="407"/>
                    </a:lnTo>
                    <a:lnTo>
                      <a:pt x="874" y="415"/>
                    </a:lnTo>
                    <a:lnTo>
                      <a:pt x="880" y="423"/>
                    </a:lnTo>
                    <a:lnTo>
                      <a:pt x="883" y="430"/>
                    </a:lnTo>
                    <a:lnTo>
                      <a:pt x="886" y="439"/>
                    </a:lnTo>
                    <a:lnTo>
                      <a:pt x="889" y="448"/>
                    </a:lnTo>
                    <a:lnTo>
                      <a:pt x="891" y="457"/>
                    </a:lnTo>
                    <a:lnTo>
                      <a:pt x="891" y="467"/>
                    </a:lnTo>
                    <a:lnTo>
                      <a:pt x="891" y="477"/>
                    </a:lnTo>
                    <a:lnTo>
                      <a:pt x="889" y="486"/>
                    </a:lnTo>
                    <a:lnTo>
                      <a:pt x="886" y="495"/>
                    </a:lnTo>
                    <a:lnTo>
                      <a:pt x="883" y="504"/>
                    </a:lnTo>
                    <a:lnTo>
                      <a:pt x="880" y="513"/>
                    </a:lnTo>
                    <a:lnTo>
                      <a:pt x="874" y="520"/>
                    </a:lnTo>
                    <a:lnTo>
                      <a:pt x="870" y="527"/>
                    </a:lnTo>
                    <a:lnTo>
                      <a:pt x="863" y="534"/>
                    </a:lnTo>
                    <a:lnTo>
                      <a:pt x="856" y="540"/>
                    </a:lnTo>
                    <a:lnTo>
                      <a:pt x="850" y="546"/>
                    </a:lnTo>
                    <a:lnTo>
                      <a:pt x="842" y="550"/>
                    </a:lnTo>
                    <a:lnTo>
                      <a:pt x="833" y="554"/>
                    </a:lnTo>
                    <a:lnTo>
                      <a:pt x="824" y="557"/>
                    </a:lnTo>
                    <a:lnTo>
                      <a:pt x="815" y="559"/>
                    </a:lnTo>
                    <a:lnTo>
                      <a:pt x="806" y="562"/>
                    </a:lnTo>
                    <a:lnTo>
                      <a:pt x="796" y="562"/>
                    </a:lnTo>
                    <a:lnTo>
                      <a:pt x="786" y="562"/>
                    </a:lnTo>
                    <a:lnTo>
                      <a:pt x="777" y="559"/>
                    </a:lnTo>
                    <a:lnTo>
                      <a:pt x="768" y="557"/>
                    </a:lnTo>
                    <a:lnTo>
                      <a:pt x="760" y="554"/>
                    </a:lnTo>
                    <a:lnTo>
                      <a:pt x="751" y="550"/>
                    </a:lnTo>
                    <a:lnTo>
                      <a:pt x="743" y="546"/>
                    </a:lnTo>
                    <a:lnTo>
                      <a:pt x="736" y="540"/>
                    </a:lnTo>
                    <a:lnTo>
                      <a:pt x="730" y="534"/>
                    </a:lnTo>
                    <a:lnTo>
                      <a:pt x="723" y="527"/>
                    </a:lnTo>
                    <a:lnTo>
                      <a:pt x="717" y="520"/>
                    </a:lnTo>
                    <a:lnTo>
                      <a:pt x="713" y="513"/>
                    </a:lnTo>
                    <a:lnTo>
                      <a:pt x="710" y="504"/>
                    </a:lnTo>
                    <a:lnTo>
                      <a:pt x="706" y="495"/>
                    </a:lnTo>
                    <a:lnTo>
                      <a:pt x="704" y="486"/>
                    </a:lnTo>
                    <a:lnTo>
                      <a:pt x="702" y="477"/>
                    </a:lnTo>
                    <a:lnTo>
                      <a:pt x="702" y="467"/>
                    </a:lnTo>
                    <a:close/>
                    <a:moveTo>
                      <a:pt x="1016" y="467"/>
                    </a:moveTo>
                    <a:lnTo>
                      <a:pt x="1016" y="467"/>
                    </a:lnTo>
                    <a:lnTo>
                      <a:pt x="1018" y="457"/>
                    </a:lnTo>
                    <a:lnTo>
                      <a:pt x="1019" y="448"/>
                    </a:lnTo>
                    <a:lnTo>
                      <a:pt x="1021" y="439"/>
                    </a:lnTo>
                    <a:lnTo>
                      <a:pt x="1024" y="430"/>
                    </a:lnTo>
                    <a:lnTo>
                      <a:pt x="1028" y="423"/>
                    </a:lnTo>
                    <a:lnTo>
                      <a:pt x="1033" y="415"/>
                    </a:lnTo>
                    <a:lnTo>
                      <a:pt x="1039" y="407"/>
                    </a:lnTo>
                    <a:lnTo>
                      <a:pt x="1044" y="400"/>
                    </a:lnTo>
                    <a:lnTo>
                      <a:pt x="1051" y="395"/>
                    </a:lnTo>
                    <a:lnTo>
                      <a:pt x="1059" y="389"/>
                    </a:lnTo>
                    <a:lnTo>
                      <a:pt x="1067" y="384"/>
                    </a:lnTo>
                    <a:lnTo>
                      <a:pt x="1074" y="380"/>
                    </a:lnTo>
                    <a:lnTo>
                      <a:pt x="1083" y="377"/>
                    </a:lnTo>
                    <a:lnTo>
                      <a:pt x="1092" y="375"/>
                    </a:lnTo>
                    <a:lnTo>
                      <a:pt x="1101" y="374"/>
                    </a:lnTo>
                    <a:lnTo>
                      <a:pt x="1111" y="373"/>
                    </a:lnTo>
                    <a:lnTo>
                      <a:pt x="1121" y="374"/>
                    </a:lnTo>
                    <a:lnTo>
                      <a:pt x="1130" y="375"/>
                    </a:lnTo>
                    <a:lnTo>
                      <a:pt x="1139" y="377"/>
                    </a:lnTo>
                    <a:lnTo>
                      <a:pt x="1148" y="380"/>
                    </a:lnTo>
                    <a:lnTo>
                      <a:pt x="1157" y="384"/>
                    </a:lnTo>
                    <a:lnTo>
                      <a:pt x="1164" y="389"/>
                    </a:lnTo>
                    <a:lnTo>
                      <a:pt x="1171" y="395"/>
                    </a:lnTo>
                    <a:lnTo>
                      <a:pt x="1178" y="400"/>
                    </a:lnTo>
                    <a:lnTo>
                      <a:pt x="1184" y="407"/>
                    </a:lnTo>
                    <a:lnTo>
                      <a:pt x="1190" y="415"/>
                    </a:lnTo>
                    <a:lnTo>
                      <a:pt x="1194" y="423"/>
                    </a:lnTo>
                    <a:lnTo>
                      <a:pt x="1198" y="430"/>
                    </a:lnTo>
                    <a:lnTo>
                      <a:pt x="1201" y="439"/>
                    </a:lnTo>
                    <a:lnTo>
                      <a:pt x="1203" y="448"/>
                    </a:lnTo>
                    <a:lnTo>
                      <a:pt x="1206" y="457"/>
                    </a:lnTo>
                    <a:lnTo>
                      <a:pt x="1206" y="467"/>
                    </a:lnTo>
                    <a:lnTo>
                      <a:pt x="1206" y="477"/>
                    </a:lnTo>
                    <a:lnTo>
                      <a:pt x="1203" y="486"/>
                    </a:lnTo>
                    <a:lnTo>
                      <a:pt x="1201" y="495"/>
                    </a:lnTo>
                    <a:lnTo>
                      <a:pt x="1198" y="504"/>
                    </a:lnTo>
                    <a:lnTo>
                      <a:pt x="1194" y="513"/>
                    </a:lnTo>
                    <a:lnTo>
                      <a:pt x="1190" y="520"/>
                    </a:lnTo>
                    <a:lnTo>
                      <a:pt x="1184" y="527"/>
                    </a:lnTo>
                    <a:lnTo>
                      <a:pt x="1178" y="534"/>
                    </a:lnTo>
                    <a:lnTo>
                      <a:pt x="1171" y="540"/>
                    </a:lnTo>
                    <a:lnTo>
                      <a:pt x="1164" y="546"/>
                    </a:lnTo>
                    <a:lnTo>
                      <a:pt x="1157" y="550"/>
                    </a:lnTo>
                    <a:lnTo>
                      <a:pt x="1148" y="554"/>
                    </a:lnTo>
                    <a:lnTo>
                      <a:pt x="1139" y="557"/>
                    </a:lnTo>
                    <a:lnTo>
                      <a:pt x="1130" y="559"/>
                    </a:lnTo>
                    <a:lnTo>
                      <a:pt x="1121" y="562"/>
                    </a:lnTo>
                    <a:lnTo>
                      <a:pt x="1111" y="562"/>
                    </a:lnTo>
                    <a:lnTo>
                      <a:pt x="1101" y="562"/>
                    </a:lnTo>
                    <a:lnTo>
                      <a:pt x="1092" y="559"/>
                    </a:lnTo>
                    <a:lnTo>
                      <a:pt x="1083" y="557"/>
                    </a:lnTo>
                    <a:lnTo>
                      <a:pt x="1074" y="554"/>
                    </a:lnTo>
                    <a:lnTo>
                      <a:pt x="1067" y="550"/>
                    </a:lnTo>
                    <a:lnTo>
                      <a:pt x="1059" y="546"/>
                    </a:lnTo>
                    <a:lnTo>
                      <a:pt x="1051" y="540"/>
                    </a:lnTo>
                    <a:lnTo>
                      <a:pt x="1044" y="534"/>
                    </a:lnTo>
                    <a:lnTo>
                      <a:pt x="1039" y="527"/>
                    </a:lnTo>
                    <a:lnTo>
                      <a:pt x="1033" y="520"/>
                    </a:lnTo>
                    <a:lnTo>
                      <a:pt x="1028" y="513"/>
                    </a:lnTo>
                    <a:lnTo>
                      <a:pt x="1024" y="504"/>
                    </a:lnTo>
                    <a:lnTo>
                      <a:pt x="1021" y="495"/>
                    </a:lnTo>
                    <a:lnTo>
                      <a:pt x="1019" y="486"/>
                    </a:lnTo>
                    <a:lnTo>
                      <a:pt x="1018" y="477"/>
                    </a:lnTo>
                    <a:lnTo>
                      <a:pt x="1016" y="467"/>
                    </a:lnTo>
                    <a:close/>
                    <a:moveTo>
                      <a:pt x="1331" y="467"/>
                    </a:moveTo>
                    <a:lnTo>
                      <a:pt x="1331" y="467"/>
                    </a:lnTo>
                    <a:lnTo>
                      <a:pt x="1332" y="457"/>
                    </a:lnTo>
                    <a:lnTo>
                      <a:pt x="1333" y="448"/>
                    </a:lnTo>
                    <a:lnTo>
                      <a:pt x="1336" y="439"/>
                    </a:lnTo>
                    <a:lnTo>
                      <a:pt x="1339" y="430"/>
                    </a:lnTo>
                    <a:lnTo>
                      <a:pt x="1342" y="423"/>
                    </a:lnTo>
                    <a:lnTo>
                      <a:pt x="1348" y="415"/>
                    </a:lnTo>
                    <a:lnTo>
                      <a:pt x="1353" y="407"/>
                    </a:lnTo>
                    <a:lnTo>
                      <a:pt x="1359" y="400"/>
                    </a:lnTo>
                    <a:lnTo>
                      <a:pt x="1366" y="395"/>
                    </a:lnTo>
                    <a:lnTo>
                      <a:pt x="1373" y="389"/>
                    </a:lnTo>
                    <a:lnTo>
                      <a:pt x="1381" y="384"/>
                    </a:lnTo>
                    <a:lnTo>
                      <a:pt x="1389" y="380"/>
                    </a:lnTo>
                    <a:lnTo>
                      <a:pt x="1398" y="377"/>
                    </a:lnTo>
                    <a:lnTo>
                      <a:pt x="1407" y="375"/>
                    </a:lnTo>
                    <a:lnTo>
                      <a:pt x="1417" y="374"/>
                    </a:lnTo>
                    <a:lnTo>
                      <a:pt x="1426" y="373"/>
                    </a:lnTo>
                    <a:lnTo>
                      <a:pt x="1436" y="374"/>
                    </a:lnTo>
                    <a:lnTo>
                      <a:pt x="1445" y="375"/>
                    </a:lnTo>
                    <a:lnTo>
                      <a:pt x="1455" y="377"/>
                    </a:lnTo>
                    <a:lnTo>
                      <a:pt x="1462" y="380"/>
                    </a:lnTo>
                    <a:lnTo>
                      <a:pt x="1471" y="384"/>
                    </a:lnTo>
                    <a:lnTo>
                      <a:pt x="1479" y="389"/>
                    </a:lnTo>
                    <a:lnTo>
                      <a:pt x="1486" y="395"/>
                    </a:lnTo>
                    <a:lnTo>
                      <a:pt x="1492" y="400"/>
                    </a:lnTo>
                    <a:lnTo>
                      <a:pt x="1499" y="407"/>
                    </a:lnTo>
                    <a:lnTo>
                      <a:pt x="1505" y="415"/>
                    </a:lnTo>
                    <a:lnTo>
                      <a:pt x="1509" y="423"/>
                    </a:lnTo>
                    <a:lnTo>
                      <a:pt x="1514" y="430"/>
                    </a:lnTo>
                    <a:lnTo>
                      <a:pt x="1516" y="439"/>
                    </a:lnTo>
                    <a:lnTo>
                      <a:pt x="1519" y="448"/>
                    </a:lnTo>
                    <a:lnTo>
                      <a:pt x="1520" y="457"/>
                    </a:lnTo>
                    <a:lnTo>
                      <a:pt x="1520" y="467"/>
                    </a:lnTo>
                    <a:lnTo>
                      <a:pt x="1520" y="477"/>
                    </a:lnTo>
                    <a:lnTo>
                      <a:pt x="1519" y="486"/>
                    </a:lnTo>
                    <a:lnTo>
                      <a:pt x="1516" y="495"/>
                    </a:lnTo>
                    <a:lnTo>
                      <a:pt x="1514" y="504"/>
                    </a:lnTo>
                    <a:lnTo>
                      <a:pt x="1509" y="513"/>
                    </a:lnTo>
                    <a:lnTo>
                      <a:pt x="1505" y="520"/>
                    </a:lnTo>
                    <a:lnTo>
                      <a:pt x="1499" y="527"/>
                    </a:lnTo>
                    <a:lnTo>
                      <a:pt x="1492" y="534"/>
                    </a:lnTo>
                    <a:lnTo>
                      <a:pt x="1486" y="540"/>
                    </a:lnTo>
                    <a:lnTo>
                      <a:pt x="1479" y="546"/>
                    </a:lnTo>
                    <a:lnTo>
                      <a:pt x="1471" y="550"/>
                    </a:lnTo>
                    <a:lnTo>
                      <a:pt x="1462" y="554"/>
                    </a:lnTo>
                    <a:lnTo>
                      <a:pt x="1455" y="557"/>
                    </a:lnTo>
                    <a:lnTo>
                      <a:pt x="1445" y="559"/>
                    </a:lnTo>
                    <a:lnTo>
                      <a:pt x="1436" y="562"/>
                    </a:lnTo>
                    <a:lnTo>
                      <a:pt x="1426" y="562"/>
                    </a:lnTo>
                    <a:lnTo>
                      <a:pt x="1417" y="562"/>
                    </a:lnTo>
                    <a:lnTo>
                      <a:pt x="1407" y="559"/>
                    </a:lnTo>
                    <a:lnTo>
                      <a:pt x="1398" y="557"/>
                    </a:lnTo>
                    <a:lnTo>
                      <a:pt x="1389" y="554"/>
                    </a:lnTo>
                    <a:lnTo>
                      <a:pt x="1381" y="550"/>
                    </a:lnTo>
                    <a:lnTo>
                      <a:pt x="1373" y="546"/>
                    </a:lnTo>
                    <a:lnTo>
                      <a:pt x="1366" y="540"/>
                    </a:lnTo>
                    <a:lnTo>
                      <a:pt x="1359" y="534"/>
                    </a:lnTo>
                    <a:lnTo>
                      <a:pt x="1353" y="527"/>
                    </a:lnTo>
                    <a:lnTo>
                      <a:pt x="1348" y="520"/>
                    </a:lnTo>
                    <a:lnTo>
                      <a:pt x="1342" y="513"/>
                    </a:lnTo>
                    <a:lnTo>
                      <a:pt x="1339" y="504"/>
                    </a:lnTo>
                    <a:lnTo>
                      <a:pt x="1336" y="495"/>
                    </a:lnTo>
                    <a:lnTo>
                      <a:pt x="1333" y="486"/>
                    </a:lnTo>
                    <a:lnTo>
                      <a:pt x="1332" y="477"/>
                    </a:lnTo>
                    <a:lnTo>
                      <a:pt x="1331" y="467"/>
                    </a:lnTo>
                    <a:close/>
                    <a:moveTo>
                      <a:pt x="1646" y="467"/>
                    </a:moveTo>
                    <a:lnTo>
                      <a:pt x="1646" y="467"/>
                    </a:lnTo>
                    <a:lnTo>
                      <a:pt x="1647" y="457"/>
                    </a:lnTo>
                    <a:lnTo>
                      <a:pt x="1648" y="448"/>
                    </a:lnTo>
                    <a:lnTo>
                      <a:pt x="1650" y="439"/>
                    </a:lnTo>
                    <a:lnTo>
                      <a:pt x="1654" y="430"/>
                    </a:lnTo>
                    <a:lnTo>
                      <a:pt x="1658" y="423"/>
                    </a:lnTo>
                    <a:lnTo>
                      <a:pt x="1663" y="415"/>
                    </a:lnTo>
                    <a:lnTo>
                      <a:pt x="1668" y="407"/>
                    </a:lnTo>
                    <a:lnTo>
                      <a:pt x="1674" y="400"/>
                    </a:lnTo>
                    <a:lnTo>
                      <a:pt x="1680" y="395"/>
                    </a:lnTo>
                    <a:lnTo>
                      <a:pt x="1688" y="389"/>
                    </a:lnTo>
                    <a:lnTo>
                      <a:pt x="1696" y="384"/>
                    </a:lnTo>
                    <a:lnTo>
                      <a:pt x="1704" y="380"/>
                    </a:lnTo>
                    <a:lnTo>
                      <a:pt x="1713" y="377"/>
                    </a:lnTo>
                    <a:lnTo>
                      <a:pt x="1722" y="375"/>
                    </a:lnTo>
                    <a:lnTo>
                      <a:pt x="1732" y="374"/>
                    </a:lnTo>
                    <a:lnTo>
                      <a:pt x="1740" y="373"/>
                    </a:lnTo>
                    <a:lnTo>
                      <a:pt x="1750" y="374"/>
                    </a:lnTo>
                    <a:lnTo>
                      <a:pt x="1761" y="375"/>
                    </a:lnTo>
                    <a:lnTo>
                      <a:pt x="1769" y="377"/>
                    </a:lnTo>
                    <a:lnTo>
                      <a:pt x="1778" y="380"/>
                    </a:lnTo>
                    <a:lnTo>
                      <a:pt x="1786" y="384"/>
                    </a:lnTo>
                    <a:lnTo>
                      <a:pt x="1794" y="389"/>
                    </a:lnTo>
                    <a:lnTo>
                      <a:pt x="1802" y="395"/>
                    </a:lnTo>
                    <a:lnTo>
                      <a:pt x="1808" y="400"/>
                    </a:lnTo>
                    <a:lnTo>
                      <a:pt x="1814" y="407"/>
                    </a:lnTo>
                    <a:lnTo>
                      <a:pt x="1819" y="415"/>
                    </a:lnTo>
                    <a:lnTo>
                      <a:pt x="1824" y="423"/>
                    </a:lnTo>
                    <a:lnTo>
                      <a:pt x="1828" y="430"/>
                    </a:lnTo>
                    <a:lnTo>
                      <a:pt x="1832" y="439"/>
                    </a:lnTo>
                    <a:lnTo>
                      <a:pt x="1834" y="448"/>
                    </a:lnTo>
                    <a:lnTo>
                      <a:pt x="1835" y="457"/>
                    </a:lnTo>
                    <a:lnTo>
                      <a:pt x="1835" y="467"/>
                    </a:lnTo>
                    <a:lnTo>
                      <a:pt x="1835" y="477"/>
                    </a:lnTo>
                    <a:lnTo>
                      <a:pt x="1834" y="486"/>
                    </a:lnTo>
                    <a:lnTo>
                      <a:pt x="1832" y="495"/>
                    </a:lnTo>
                    <a:lnTo>
                      <a:pt x="1828" y="504"/>
                    </a:lnTo>
                    <a:lnTo>
                      <a:pt x="1824" y="513"/>
                    </a:lnTo>
                    <a:lnTo>
                      <a:pt x="1819" y="520"/>
                    </a:lnTo>
                    <a:lnTo>
                      <a:pt x="1814" y="527"/>
                    </a:lnTo>
                    <a:lnTo>
                      <a:pt x="1808" y="534"/>
                    </a:lnTo>
                    <a:lnTo>
                      <a:pt x="1802" y="540"/>
                    </a:lnTo>
                    <a:lnTo>
                      <a:pt x="1794" y="546"/>
                    </a:lnTo>
                    <a:lnTo>
                      <a:pt x="1786" y="550"/>
                    </a:lnTo>
                    <a:lnTo>
                      <a:pt x="1778" y="554"/>
                    </a:lnTo>
                    <a:lnTo>
                      <a:pt x="1769" y="557"/>
                    </a:lnTo>
                    <a:lnTo>
                      <a:pt x="1761" y="559"/>
                    </a:lnTo>
                    <a:lnTo>
                      <a:pt x="1750" y="562"/>
                    </a:lnTo>
                    <a:lnTo>
                      <a:pt x="1740" y="562"/>
                    </a:lnTo>
                    <a:lnTo>
                      <a:pt x="1732" y="562"/>
                    </a:lnTo>
                    <a:lnTo>
                      <a:pt x="1722" y="559"/>
                    </a:lnTo>
                    <a:lnTo>
                      <a:pt x="1713" y="557"/>
                    </a:lnTo>
                    <a:lnTo>
                      <a:pt x="1704" y="554"/>
                    </a:lnTo>
                    <a:lnTo>
                      <a:pt x="1696" y="550"/>
                    </a:lnTo>
                    <a:lnTo>
                      <a:pt x="1688" y="546"/>
                    </a:lnTo>
                    <a:lnTo>
                      <a:pt x="1680" y="540"/>
                    </a:lnTo>
                    <a:lnTo>
                      <a:pt x="1674" y="534"/>
                    </a:lnTo>
                    <a:lnTo>
                      <a:pt x="1668" y="527"/>
                    </a:lnTo>
                    <a:lnTo>
                      <a:pt x="1663" y="520"/>
                    </a:lnTo>
                    <a:lnTo>
                      <a:pt x="1658" y="513"/>
                    </a:lnTo>
                    <a:lnTo>
                      <a:pt x="1654" y="504"/>
                    </a:lnTo>
                    <a:lnTo>
                      <a:pt x="1650" y="495"/>
                    </a:lnTo>
                    <a:lnTo>
                      <a:pt x="1648" y="486"/>
                    </a:lnTo>
                    <a:lnTo>
                      <a:pt x="1647" y="477"/>
                    </a:lnTo>
                    <a:lnTo>
                      <a:pt x="1646" y="467"/>
                    </a:lnTo>
                    <a:close/>
                    <a:moveTo>
                      <a:pt x="1966" y="467"/>
                    </a:moveTo>
                    <a:lnTo>
                      <a:pt x="1966" y="467"/>
                    </a:lnTo>
                    <a:lnTo>
                      <a:pt x="1966" y="457"/>
                    </a:lnTo>
                    <a:lnTo>
                      <a:pt x="1967" y="448"/>
                    </a:lnTo>
                    <a:lnTo>
                      <a:pt x="1970" y="439"/>
                    </a:lnTo>
                    <a:lnTo>
                      <a:pt x="1973" y="430"/>
                    </a:lnTo>
                    <a:lnTo>
                      <a:pt x="1977" y="423"/>
                    </a:lnTo>
                    <a:lnTo>
                      <a:pt x="1982" y="415"/>
                    </a:lnTo>
                    <a:lnTo>
                      <a:pt x="1987" y="407"/>
                    </a:lnTo>
                    <a:lnTo>
                      <a:pt x="1993" y="400"/>
                    </a:lnTo>
                    <a:lnTo>
                      <a:pt x="2000" y="395"/>
                    </a:lnTo>
                    <a:lnTo>
                      <a:pt x="2007" y="389"/>
                    </a:lnTo>
                    <a:lnTo>
                      <a:pt x="2015" y="384"/>
                    </a:lnTo>
                    <a:lnTo>
                      <a:pt x="2023" y="380"/>
                    </a:lnTo>
                    <a:lnTo>
                      <a:pt x="2032" y="377"/>
                    </a:lnTo>
                    <a:lnTo>
                      <a:pt x="2041" y="375"/>
                    </a:lnTo>
                    <a:lnTo>
                      <a:pt x="2051" y="374"/>
                    </a:lnTo>
                    <a:lnTo>
                      <a:pt x="2061" y="373"/>
                    </a:lnTo>
                    <a:lnTo>
                      <a:pt x="2070" y="374"/>
                    </a:lnTo>
                    <a:lnTo>
                      <a:pt x="2080" y="375"/>
                    </a:lnTo>
                    <a:lnTo>
                      <a:pt x="2089" y="377"/>
                    </a:lnTo>
                    <a:lnTo>
                      <a:pt x="2097" y="380"/>
                    </a:lnTo>
                    <a:lnTo>
                      <a:pt x="2105" y="384"/>
                    </a:lnTo>
                    <a:lnTo>
                      <a:pt x="2113" y="389"/>
                    </a:lnTo>
                    <a:lnTo>
                      <a:pt x="2121" y="395"/>
                    </a:lnTo>
                    <a:lnTo>
                      <a:pt x="2128" y="400"/>
                    </a:lnTo>
                    <a:lnTo>
                      <a:pt x="2133" y="407"/>
                    </a:lnTo>
                    <a:lnTo>
                      <a:pt x="2139" y="415"/>
                    </a:lnTo>
                    <a:lnTo>
                      <a:pt x="2143" y="423"/>
                    </a:lnTo>
                    <a:lnTo>
                      <a:pt x="2148" y="430"/>
                    </a:lnTo>
                    <a:lnTo>
                      <a:pt x="2151" y="439"/>
                    </a:lnTo>
                    <a:lnTo>
                      <a:pt x="2153" y="448"/>
                    </a:lnTo>
                    <a:lnTo>
                      <a:pt x="2154" y="457"/>
                    </a:lnTo>
                    <a:lnTo>
                      <a:pt x="2155" y="467"/>
                    </a:lnTo>
                    <a:lnTo>
                      <a:pt x="2154" y="477"/>
                    </a:lnTo>
                    <a:lnTo>
                      <a:pt x="2153" y="486"/>
                    </a:lnTo>
                    <a:lnTo>
                      <a:pt x="2151" y="495"/>
                    </a:lnTo>
                    <a:lnTo>
                      <a:pt x="2148" y="504"/>
                    </a:lnTo>
                    <a:lnTo>
                      <a:pt x="2143" y="513"/>
                    </a:lnTo>
                    <a:lnTo>
                      <a:pt x="2139" y="520"/>
                    </a:lnTo>
                    <a:lnTo>
                      <a:pt x="2133" y="527"/>
                    </a:lnTo>
                    <a:lnTo>
                      <a:pt x="2128" y="534"/>
                    </a:lnTo>
                    <a:lnTo>
                      <a:pt x="2121" y="540"/>
                    </a:lnTo>
                    <a:lnTo>
                      <a:pt x="2113" y="546"/>
                    </a:lnTo>
                    <a:lnTo>
                      <a:pt x="2105" y="550"/>
                    </a:lnTo>
                    <a:lnTo>
                      <a:pt x="2097" y="554"/>
                    </a:lnTo>
                    <a:lnTo>
                      <a:pt x="2089" y="557"/>
                    </a:lnTo>
                    <a:lnTo>
                      <a:pt x="2080" y="559"/>
                    </a:lnTo>
                    <a:lnTo>
                      <a:pt x="2070" y="562"/>
                    </a:lnTo>
                    <a:lnTo>
                      <a:pt x="2061" y="562"/>
                    </a:lnTo>
                    <a:lnTo>
                      <a:pt x="2051" y="562"/>
                    </a:lnTo>
                    <a:lnTo>
                      <a:pt x="2041" y="559"/>
                    </a:lnTo>
                    <a:lnTo>
                      <a:pt x="2032" y="557"/>
                    </a:lnTo>
                    <a:lnTo>
                      <a:pt x="2023" y="554"/>
                    </a:lnTo>
                    <a:lnTo>
                      <a:pt x="2015" y="550"/>
                    </a:lnTo>
                    <a:lnTo>
                      <a:pt x="2007" y="546"/>
                    </a:lnTo>
                    <a:lnTo>
                      <a:pt x="2000" y="540"/>
                    </a:lnTo>
                    <a:lnTo>
                      <a:pt x="1993" y="534"/>
                    </a:lnTo>
                    <a:lnTo>
                      <a:pt x="1987" y="527"/>
                    </a:lnTo>
                    <a:lnTo>
                      <a:pt x="1982" y="520"/>
                    </a:lnTo>
                    <a:lnTo>
                      <a:pt x="1977" y="513"/>
                    </a:lnTo>
                    <a:lnTo>
                      <a:pt x="1973" y="504"/>
                    </a:lnTo>
                    <a:lnTo>
                      <a:pt x="1970" y="495"/>
                    </a:lnTo>
                    <a:lnTo>
                      <a:pt x="1967" y="486"/>
                    </a:lnTo>
                    <a:lnTo>
                      <a:pt x="1966" y="477"/>
                    </a:lnTo>
                    <a:lnTo>
                      <a:pt x="1966" y="467"/>
                    </a:lnTo>
                    <a:close/>
                    <a:moveTo>
                      <a:pt x="2605" y="1398"/>
                    </a:moveTo>
                    <a:lnTo>
                      <a:pt x="2605" y="1398"/>
                    </a:lnTo>
                    <a:lnTo>
                      <a:pt x="2606" y="1388"/>
                    </a:lnTo>
                    <a:lnTo>
                      <a:pt x="2607" y="1379"/>
                    </a:lnTo>
                    <a:lnTo>
                      <a:pt x="2609" y="1370"/>
                    </a:lnTo>
                    <a:lnTo>
                      <a:pt x="2612" y="1361"/>
                    </a:lnTo>
                    <a:lnTo>
                      <a:pt x="2617" y="1353"/>
                    </a:lnTo>
                    <a:lnTo>
                      <a:pt x="2621" y="1344"/>
                    </a:lnTo>
                    <a:lnTo>
                      <a:pt x="2627" y="1338"/>
                    </a:lnTo>
                    <a:lnTo>
                      <a:pt x="2632" y="1331"/>
                    </a:lnTo>
                    <a:lnTo>
                      <a:pt x="2639" y="1324"/>
                    </a:lnTo>
                    <a:lnTo>
                      <a:pt x="2647" y="1320"/>
                    </a:lnTo>
                    <a:lnTo>
                      <a:pt x="2655" y="1314"/>
                    </a:lnTo>
                    <a:lnTo>
                      <a:pt x="2662" y="1311"/>
                    </a:lnTo>
                    <a:lnTo>
                      <a:pt x="2671" y="1308"/>
                    </a:lnTo>
                    <a:lnTo>
                      <a:pt x="2680" y="1306"/>
                    </a:lnTo>
                    <a:lnTo>
                      <a:pt x="2690" y="1303"/>
                    </a:lnTo>
                    <a:lnTo>
                      <a:pt x="2699" y="1303"/>
                    </a:lnTo>
                    <a:lnTo>
                      <a:pt x="2709" y="1303"/>
                    </a:lnTo>
                    <a:lnTo>
                      <a:pt x="2719" y="1306"/>
                    </a:lnTo>
                    <a:lnTo>
                      <a:pt x="2728" y="1308"/>
                    </a:lnTo>
                    <a:lnTo>
                      <a:pt x="2736" y="1311"/>
                    </a:lnTo>
                    <a:lnTo>
                      <a:pt x="2745" y="1314"/>
                    </a:lnTo>
                    <a:lnTo>
                      <a:pt x="2753" y="1320"/>
                    </a:lnTo>
                    <a:lnTo>
                      <a:pt x="2759" y="1324"/>
                    </a:lnTo>
                    <a:lnTo>
                      <a:pt x="2767" y="1331"/>
                    </a:lnTo>
                    <a:lnTo>
                      <a:pt x="2773" y="1338"/>
                    </a:lnTo>
                    <a:lnTo>
                      <a:pt x="2778" y="1344"/>
                    </a:lnTo>
                    <a:lnTo>
                      <a:pt x="2783" y="1353"/>
                    </a:lnTo>
                    <a:lnTo>
                      <a:pt x="2787" y="1361"/>
                    </a:lnTo>
                    <a:lnTo>
                      <a:pt x="2790" y="1370"/>
                    </a:lnTo>
                    <a:lnTo>
                      <a:pt x="2793" y="1379"/>
                    </a:lnTo>
                    <a:lnTo>
                      <a:pt x="2794" y="1388"/>
                    </a:lnTo>
                    <a:lnTo>
                      <a:pt x="2794" y="1398"/>
                    </a:lnTo>
                    <a:lnTo>
                      <a:pt x="2794" y="1408"/>
                    </a:lnTo>
                    <a:lnTo>
                      <a:pt x="2793" y="1417"/>
                    </a:lnTo>
                    <a:lnTo>
                      <a:pt x="2790" y="1426"/>
                    </a:lnTo>
                    <a:lnTo>
                      <a:pt x="2787" y="1435"/>
                    </a:lnTo>
                    <a:lnTo>
                      <a:pt x="2783" y="1443"/>
                    </a:lnTo>
                    <a:lnTo>
                      <a:pt x="2778" y="1451"/>
                    </a:lnTo>
                    <a:lnTo>
                      <a:pt x="2773" y="1458"/>
                    </a:lnTo>
                    <a:lnTo>
                      <a:pt x="2767" y="1465"/>
                    </a:lnTo>
                    <a:lnTo>
                      <a:pt x="2759" y="1471"/>
                    </a:lnTo>
                    <a:lnTo>
                      <a:pt x="2753" y="1477"/>
                    </a:lnTo>
                    <a:lnTo>
                      <a:pt x="2745" y="1481"/>
                    </a:lnTo>
                    <a:lnTo>
                      <a:pt x="2736" y="1485"/>
                    </a:lnTo>
                    <a:lnTo>
                      <a:pt x="2728" y="1488"/>
                    </a:lnTo>
                    <a:lnTo>
                      <a:pt x="2719" y="1490"/>
                    </a:lnTo>
                    <a:lnTo>
                      <a:pt x="2709" y="1492"/>
                    </a:lnTo>
                    <a:lnTo>
                      <a:pt x="2699" y="1492"/>
                    </a:lnTo>
                    <a:lnTo>
                      <a:pt x="2690" y="1492"/>
                    </a:lnTo>
                    <a:lnTo>
                      <a:pt x="2680" y="1490"/>
                    </a:lnTo>
                    <a:lnTo>
                      <a:pt x="2671" y="1488"/>
                    </a:lnTo>
                    <a:lnTo>
                      <a:pt x="2662" y="1485"/>
                    </a:lnTo>
                    <a:lnTo>
                      <a:pt x="2655" y="1481"/>
                    </a:lnTo>
                    <a:lnTo>
                      <a:pt x="2647" y="1477"/>
                    </a:lnTo>
                    <a:lnTo>
                      <a:pt x="2639" y="1471"/>
                    </a:lnTo>
                    <a:lnTo>
                      <a:pt x="2632" y="1465"/>
                    </a:lnTo>
                    <a:lnTo>
                      <a:pt x="2627" y="1458"/>
                    </a:lnTo>
                    <a:lnTo>
                      <a:pt x="2621" y="1451"/>
                    </a:lnTo>
                    <a:lnTo>
                      <a:pt x="2617" y="1443"/>
                    </a:lnTo>
                    <a:lnTo>
                      <a:pt x="2612" y="1435"/>
                    </a:lnTo>
                    <a:lnTo>
                      <a:pt x="2609" y="1426"/>
                    </a:lnTo>
                    <a:lnTo>
                      <a:pt x="2607" y="1417"/>
                    </a:lnTo>
                    <a:lnTo>
                      <a:pt x="2606" y="1408"/>
                    </a:lnTo>
                    <a:lnTo>
                      <a:pt x="2605" y="1398"/>
                    </a:lnTo>
                    <a:close/>
                    <a:moveTo>
                      <a:pt x="2605" y="1713"/>
                    </a:moveTo>
                    <a:lnTo>
                      <a:pt x="2605" y="1713"/>
                    </a:lnTo>
                    <a:lnTo>
                      <a:pt x="2606" y="1703"/>
                    </a:lnTo>
                    <a:lnTo>
                      <a:pt x="2607" y="1694"/>
                    </a:lnTo>
                    <a:lnTo>
                      <a:pt x="2609" y="1685"/>
                    </a:lnTo>
                    <a:lnTo>
                      <a:pt x="2612" y="1676"/>
                    </a:lnTo>
                    <a:lnTo>
                      <a:pt x="2617" y="1668"/>
                    </a:lnTo>
                    <a:lnTo>
                      <a:pt x="2621" y="1660"/>
                    </a:lnTo>
                    <a:lnTo>
                      <a:pt x="2627" y="1653"/>
                    </a:lnTo>
                    <a:lnTo>
                      <a:pt x="2632" y="1646"/>
                    </a:lnTo>
                    <a:lnTo>
                      <a:pt x="2639" y="1640"/>
                    </a:lnTo>
                    <a:lnTo>
                      <a:pt x="2647" y="1635"/>
                    </a:lnTo>
                    <a:lnTo>
                      <a:pt x="2655" y="1629"/>
                    </a:lnTo>
                    <a:lnTo>
                      <a:pt x="2662" y="1626"/>
                    </a:lnTo>
                    <a:lnTo>
                      <a:pt x="2671" y="1623"/>
                    </a:lnTo>
                    <a:lnTo>
                      <a:pt x="2680" y="1620"/>
                    </a:lnTo>
                    <a:lnTo>
                      <a:pt x="2690" y="1619"/>
                    </a:lnTo>
                    <a:lnTo>
                      <a:pt x="2699" y="1618"/>
                    </a:lnTo>
                    <a:lnTo>
                      <a:pt x="2709" y="1619"/>
                    </a:lnTo>
                    <a:lnTo>
                      <a:pt x="2719" y="1620"/>
                    </a:lnTo>
                    <a:lnTo>
                      <a:pt x="2728" y="1623"/>
                    </a:lnTo>
                    <a:lnTo>
                      <a:pt x="2736" y="1626"/>
                    </a:lnTo>
                    <a:lnTo>
                      <a:pt x="2745" y="1629"/>
                    </a:lnTo>
                    <a:lnTo>
                      <a:pt x="2753" y="1635"/>
                    </a:lnTo>
                    <a:lnTo>
                      <a:pt x="2759" y="1640"/>
                    </a:lnTo>
                    <a:lnTo>
                      <a:pt x="2767" y="1646"/>
                    </a:lnTo>
                    <a:lnTo>
                      <a:pt x="2773" y="1653"/>
                    </a:lnTo>
                    <a:lnTo>
                      <a:pt x="2778" y="1660"/>
                    </a:lnTo>
                    <a:lnTo>
                      <a:pt x="2783" y="1668"/>
                    </a:lnTo>
                    <a:lnTo>
                      <a:pt x="2787" y="1676"/>
                    </a:lnTo>
                    <a:lnTo>
                      <a:pt x="2790" y="1685"/>
                    </a:lnTo>
                    <a:lnTo>
                      <a:pt x="2793" y="1694"/>
                    </a:lnTo>
                    <a:lnTo>
                      <a:pt x="2794" y="1703"/>
                    </a:lnTo>
                    <a:lnTo>
                      <a:pt x="2794" y="1713"/>
                    </a:lnTo>
                    <a:lnTo>
                      <a:pt x="2794" y="1723"/>
                    </a:lnTo>
                    <a:lnTo>
                      <a:pt x="2793" y="1731"/>
                    </a:lnTo>
                    <a:lnTo>
                      <a:pt x="2790" y="1740"/>
                    </a:lnTo>
                    <a:lnTo>
                      <a:pt x="2787" y="1749"/>
                    </a:lnTo>
                    <a:lnTo>
                      <a:pt x="2783" y="1758"/>
                    </a:lnTo>
                    <a:lnTo>
                      <a:pt x="2778" y="1766"/>
                    </a:lnTo>
                    <a:lnTo>
                      <a:pt x="2773" y="1773"/>
                    </a:lnTo>
                    <a:lnTo>
                      <a:pt x="2767" y="1779"/>
                    </a:lnTo>
                    <a:lnTo>
                      <a:pt x="2759" y="1786"/>
                    </a:lnTo>
                    <a:lnTo>
                      <a:pt x="2753" y="1792"/>
                    </a:lnTo>
                    <a:lnTo>
                      <a:pt x="2745" y="1796"/>
                    </a:lnTo>
                    <a:lnTo>
                      <a:pt x="2736" y="1800"/>
                    </a:lnTo>
                    <a:lnTo>
                      <a:pt x="2728" y="1803"/>
                    </a:lnTo>
                    <a:lnTo>
                      <a:pt x="2719" y="1806"/>
                    </a:lnTo>
                    <a:lnTo>
                      <a:pt x="2709" y="1807"/>
                    </a:lnTo>
                    <a:lnTo>
                      <a:pt x="2699" y="1807"/>
                    </a:lnTo>
                    <a:lnTo>
                      <a:pt x="2690" y="1807"/>
                    </a:lnTo>
                    <a:lnTo>
                      <a:pt x="2680" y="1806"/>
                    </a:lnTo>
                    <a:lnTo>
                      <a:pt x="2671" y="1803"/>
                    </a:lnTo>
                    <a:lnTo>
                      <a:pt x="2662" y="1800"/>
                    </a:lnTo>
                    <a:lnTo>
                      <a:pt x="2655" y="1796"/>
                    </a:lnTo>
                    <a:lnTo>
                      <a:pt x="2647" y="1792"/>
                    </a:lnTo>
                    <a:lnTo>
                      <a:pt x="2639" y="1786"/>
                    </a:lnTo>
                    <a:lnTo>
                      <a:pt x="2632" y="1779"/>
                    </a:lnTo>
                    <a:lnTo>
                      <a:pt x="2627" y="1773"/>
                    </a:lnTo>
                    <a:lnTo>
                      <a:pt x="2621" y="1766"/>
                    </a:lnTo>
                    <a:lnTo>
                      <a:pt x="2617" y="1758"/>
                    </a:lnTo>
                    <a:lnTo>
                      <a:pt x="2612" y="1749"/>
                    </a:lnTo>
                    <a:lnTo>
                      <a:pt x="2609" y="1740"/>
                    </a:lnTo>
                    <a:lnTo>
                      <a:pt x="2607" y="1731"/>
                    </a:lnTo>
                    <a:lnTo>
                      <a:pt x="2606" y="1723"/>
                    </a:lnTo>
                    <a:lnTo>
                      <a:pt x="2605" y="1713"/>
                    </a:lnTo>
                    <a:close/>
                    <a:moveTo>
                      <a:pt x="2605" y="2027"/>
                    </a:moveTo>
                    <a:lnTo>
                      <a:pt x="2605" y="2027"/>
                    </a:lnTo>
                    <a:lnTo>
                      <a:pt x="2606" y="2018"/>
                    </a:lnTo>
                    <a:lnTo>
                      <a:pt x="2607" y="2008"/>
                    </a:lnTo>
                    <a:lnTo>
                      <a:pt x="2609" y="2000"/>
                    </a:lnTo>
                    <a:lnTo>
                      <a:pt x="2612" y="1991"/>
                    </a:lnTo>
                    <a:lnTo>
                      <a:pt x="2617" y="1983"/>
                    </a:lnTo>
                    <a:lnTo>
                      <a:pt x="2621" y="1975"/>
                    </a:lnTo>
                    <a:lnTo>
                      <a:pt x="2627" y="1967"/>
                    </a:lnTo>
                    <a:lnTo>
                      <a:pt x="2632" y="1961"/>
                    </a:lnTo>
                    <a:lnTo>
                      <a:pt x="2639" y="1955"/>
                    </a:lnTo>
                    <a:lnTo>
                      <a:pt x="2647" y="1949"/>
                    </a:lnTo>
                    <a:lnTo>
                      <a:pt x="2655" y="1945"/>
                    </a:lnTo>
                    <a:lnTo>
                      <a:pt x="2662" y="1941"/>
                    </a:lnTo>
                    <a:lnTo>
                      <a:pt x="2671" y="1937"/>
                    </a:lnTo>
                    <a:lnTo>
                      <a:pt x="2680" y="1935"/>
                    </a:lnTo>
                    <a:lnTo>
                      <a:pt x="2690" y="1934"/>
                    </a:lnTo>
                    <a:lnTo>
                      <a:pt x="2699" y="1933"/>
                    </a:lnTo>
                    <a:lnTo>
                      <a:pt x="2709" y="1934"/>
                    </a:lnTo>
                    <a:lnTo>
                      <a:pt x="2719" y="1935"/>
                    </a:lnTo>
                    <a:lnTo>
                      <a:pt x="2728" y="1937"/>
                    </a:lnTo>
                    <a:lnTo>
                      <a:pt x="2736" y="1941"/>
                    </a:lnTo>
                    <a:lnTo>
                      <a:pt x="2745" y="1945"/>
                    </a:lnTo>
                    <a:lnTo>
                      <a:pt x="2753" y="1949"/>
                    </a:lnTo>
                    <a:lnTo>
                      <a:pt x="2759" y="1955"/>
                    </a:lnTo>
                    <a:lnTo>
                      <a:pt x="2767" y="1961"/>
                    </a:lnTo>
                    <a:lnTo>
                      <a:pt x="2773" y="1967"/>
                    </a:lnTo>
                    <a:lnTo>
                      <a:pt x="2778" y="1975"/>
                    </a:lnTo>
                    <a:lnTo>
                      <a:pt x="2783" y="1983"/>
                    </a:lnTo>
                    <a:lnTo>
                      <a:pt x="2787" y="1991"/>
                    </a:lnTo>
                    <a:lnTo>
                      <a:pt x="2790" y="2000"/>
                    </a:lnTo>
                    <a:lnTo>
                      <a:pt x="2793" y="2008"/>
                    </a:lnTo>
                    <a:lnTo>
                      <a:pt x="2794" y="2018"/>
                    </a:lnTo>
                    <a:lnTo>
                      <a:pt x="2794" y="2027"/>
                    </a:lnTo>
                    <a:lnTo>
                      <a:pt x="2794" y="2037"/>
                    </a:lnTo>
                    <a:lnTo>
                      <a:pt x="2793" y="2046"/>
                    </a:lnTo>
                    <a:lnTo>
                      <a:pt x="2790" y="2056"/>
                    </a:lnTo>
                    <a:lnTo>
                      <a:pt x="2787" y="2064"/>
                    </a:lnTo>
                    <a:lnTo>
                      <a:pt x="2783" y="2073"/>
                    </a:lnTo>
                    <a:lnTo>
                      <a:pt x="2778" y="2081"/>
                    </a:lnTo>
                    <a:lnTo>
                      <a:pt x="2773" y="2087"/>
                    </a:lnTo>
                    <a:lnTo>
                      <a:pt x="2767" y="2094"/>
                    </a:lnTo>
                    <a:lnTo>
                      <a:pt x="2759" y="2101"/>
                    </a:lnTo>
                    <a:lnTo>
                      <a:pt x="2753" y="2106"/>
                    </a:lnTo>
                    <a:lnTo>
                      <a:pt x="2745" y="2111"/>
                    </a:lnTo>
                    <a:lnTo>
                      <a:pt x="2736" y="2115"/>
                    </a:lnTo>
                    <a:lnTo>
                      <a:pt x="2728" y="2118"/>
                    </a:lnTo>
                    <a:lnTo>
                      <a:pt x="2719" y="2121"/>
                    </a:lnTo>
                    <a:lnTo>
                      <a:pt x="2709" y="2122"/>
                    </a:lnTo>
                    <a:lnTo>
                      <a:pt x="2699" y="2122"/>
                    </a:lnTo>
                    <a:lnTo>
                      <a:pt x="2690" y="2122"/>
                    </a:lnTo>
                    <a:lnTo>
                      <a:pt x="2680" y="2121"/>
                    </a:lnTo>
                    <a:lnTo>
                      <a:pt x="2671" y="2118"/>
                    </a:lnTo>
                    <a:lnTo>
                      <a:pt x="2662" y="2115"/>
                    </a:lnTo>
                    <a:lnTo>
                      <a:pt x="2655" y="2111"/>
                    </a:lnTo>
                    <a:lnTo>
                      <a:pt x="2647" y="2106"/>
                    </a:lnTo>
                    <a:lnTo>
                      <a:pt x="2639" y="2101"/>
                    </a:lnTo>
                    <a:lnTo>
                      <a:pt x="2632" y="2094"/>
                    </a:lnTo>
                    <a:lnTo>
                      <a:pt x="2627" y="2087"/>
                    </a:lnTo>
                    <a:lnTo>
                      <a:pt x="2621" y="2081"/>
                    </a:lnTo>
                    <a:lnTo>
                      <a:pt x="2617" y="2073"/>
                    </a:lnTo>
                    <a:lnTo>
                      <a:pt x="2612" y="2064"/>
                    </a:lnTo>
                    <a:lnTo>
                      <a:pt x="2609" y="2056"/>
                    </a:lnTo>
                    <a:lnTo>
                      <a:pt x="2607" y="2046"/>
                    </a:lnTo>
                    <a:lnTo>
                      <a:pt x="2606" y="2037"/>
                    </a:lnTo>
                    <a:lnTo>
                      <a:pt x="2605" y="2027"/>
                    </a:lnTo>
                    <a:close/>
                    <a:moveTo>
                      <a:pt x="2605" y="2342"/>
                    </a:moveTo>
                    <a:lnTo>
                      <a:pt x="2605" y="2342"/>
                    </a:lnTo>
                    <a:lnTo>
                      <a:pt x="2606" y="2333"/>
                    </a:lnTo>
                    <a:lnTo>
                      <a:pt x="2607" y="2323"/>
                    </a:lnTo>
                    <a:lnTo>
                      <a:pt x="2609" y="2314"/>
                    </a:lnTo>
                    <a:lnTo>
                      <a:pt x="2612" y="2305"/>
                    </a:lnTo>
                    <a:lnTo>
                      <a:pt x="2617" y="2298"/>
                    </a:lnTo>
                    <a:lnTo>
                      <a:pt x="2621" y="2290"/>
                    </a:lnTo>
                    <a:lnTo>
                      <a:pt x="2627" y="2282"/>
                    </a:lnTo>
                    <a:lnTo>
                      <a:pt x="2632" y="2275"/>
                    </a:lnTo>
                    <a:lnTo>
                      <a:pt x="2639" y="2270"/>
                    </a:lnTo>
                    <a:lnTo>
                      <a:pt x="2647" y="2264"/>
                    </a:lnTo>
                    <a:lnTo>
                      <a:pt x="2655" y="2260"/>
                    </a:lnTo>
                    <a:lnTo>
                      <a:pt x="2662" y="2255"/>
                    </a:lnTo>
                    <a:lnTo>
                      <a:pt x="2671" y="2252"/>
                    </a:lnTo>
                    <a:lnTo>
                      <a:pt x="2680" y="2250"/>
                    </a:lnTo>
                    <a:lnTo>
                      <a:pt x="2690" y="2249"/>
                    </a:lnTo>
                    <a:lnTo>
                      <a:pt x="2699" y="2247"/>
                    </a:lnTo>
                    <a:lnTo>
                      <a:pt x="2709" y="2249"/>
                    </a:lnTo>
                    <a:lnTo>
                      <a:pt x="2719" y="2250"/>
                    </a:lnTo>
                    <a:lnTo>
                      <a:pt x="2728" y="2252"/>
                    </a:lnTo>
                    <a:lnTo>
                      <a:pt x="2736" y="2255"/>
                    </a:lnTo>
                    <a:lnTo>
                      <a:pt x="2745" y="2260"/>
                    </a:lnTo>
                    <a:lnTo>
                      <a:pt x="2753" y="2264"/>
                    </a:lnTo>
                    <a:lnTo>
                      <a:pt x="2759" y="2270"/>
                    </a:lnTo>
                    <a:lnTo>
                      <a:pt x="2767" y="2275"/>
                    </a:lnTo>
                    <a:lnTo>
                      <a:pt x="2773" y="2282"/>
                    </a:lnTo>
                    <a:lnTo>
                      <a:pt x="2778" y="2290"/>
                    </a:lnTo>
                    <a:lnTo>
                      <a:pt x="2783" y="2298"/>
                    </a:lnTo>
                    <a:lnTo>
                      <a:pt x="2787" y="2305"/>
                    </a:lnTo>
                    <a:lnTo>
                      <a:pt x="2790" y="2314"/>
                    </a:lnTo>
                    <a:lnTo>
                      <a:pt x="2793" y="2323"/>
                    </a:lnTo>
                    <a:lnTo>
                      <a:pt x="2794" y="2333"/>
                    </a:lnTo>
                    <a:lnTo>
                      <a:pt x="2794" y="2342"/>
                    </a:lnTo>
                    <a:lnTo>
                      <a:pt x="2794" y="2352"/>
                    </a:lnTo>
                    <a:lnTo>
                      <a:pt x="2793" y="2362"/>
                    </a:lnTo>
                    <a:lnTo>
                      <a:pt x="2790" y="2371"/>
                    </a:lnTo>
                    <a:lnTo>
                      <a:pt x="2787" y="2380"/>
                    </a:lnTo>
                    <a:lnTo>
                      <a:pt x="2783" y="2388"/>
                    </a:lnTo>
                    <a:lnTo>
                      <a:pt x="2778" y="2395"/>
                    </a:lnTo>
                    <a:lnTo>
                      <a:pt x="2773" y="2403"/>
                    </a:lnTo>
                    <a:lnTo>
                      <a:pt x="2767" y="2410"/>
                    </a:lnTo>
                    <a:lnTo>
                      <a:pt x="2759" y="2415"/>
                    </a:lnTo>
                    <a:lnTo>
                      <a:pt x="2753" y="2421"/>
                    </a:lnTo>
                    <a:lnTo>
                      <a:pt x="2745" y="2425"/>
                    </a:lnTo>
                    <a:lnTo>
                      <a:pt x="2736" y="2430"/>
                    </a:lnTo>
                    <a:lnTo>
                      <a:pt x="2728" y="2433"/>
                    </a:lnTo>
                    <a:lnTo>
                      <a:pt x="2719" y="2435"/>
                    </a:lnTo>
                    <a:lnTo>
                      <a:pt x="2709" y="2437"/>
                    </a:lnTo>
                    <a:lnTo>
                      <a:pt x="2699" y="2438"/>
                    </a:lnTo>
                    <a:lnTo>
                      <a:pt x="2690" y="2437"/>
                    </a:lnTo>
                    <a:lnTo>
                      <a:pt x="2680" y="2435"/>
                    </a:lnTo>
                    <a:lnTo>
                      <a:pt x="2671" y="2433"/>
                    </a:lnTo>
                    <a:lnTo>
                      <a:pt x="2662" y="2430"/>
                    </a:lnTo>
                    <a:lnTo>
                      <a:pt x="2655" y="2425"/>
                    </a:lnTo>
                    <a:lnTo>
                      <a:pt x="2647" y="2421"/>
                    </a:lnTo>
                    <a:lnTo>
                      <a:pt x="2639" y="2415"/>
                    </a:lnTo>
                    <a:lnTo>
                      <a:pt x="2632" y="2410"/>
                    </a:lnTo>
                    <a:lnTo>
                      <a:pt x="2627" y="2403"/>
                    </a:lnTo>
                    <a:lnTo>
                      <a:pt x="2621" y="2395"/>
                    </a:lnTo>
                    <a:lnTo>
                      <a:pt x="2617" y="2388"/>
                    </a:lnTo>
                    <a:lnTo>
                      <a:pt x="2612" y="2380"/>
                    </a:lnTo>
                    <a:lnTo>
                      <a:pt x="2609" y="2371"/>
                    </a:lnTo>
                    <a:lnTo>
                      <a:pt x="2607" y="2362"/>
                    </a:lnTo>
                    <a:lnTo>
                      <a:pt x="2606" y="2352"/>
                    </a:lnTo>
                    <a:lnTo>
                      <a:pt x="2605" y="2342"/>
                    </a:lnTo>
                    <a:close/>
                    <a:moveTo>
                      <a:pt x="2605" y="2658"/>
                    </a:moveTo>
                    <a:lnTo>
                      <a:pt x="2605" y="2658"/>
                    </a:lnTo>
                    <a:lnTo>
                      <a:pt x="2606" y="2648"/>
                    </a:lnTo>
                    <a:lnTo>
                      <a:pt x="2607" y="2638"/>
                    </a:lnTo>
                    <a:lnTo>
                      <a:pt x="2609" y="2629"/>
                    </a:lnTo>
                    <a:lnTo>
                      <a:pt x="2612" y="2621"/>
                    </a:lnTo>
                    <a:lnTo>
                      <a:pt x="2617" y="2612"/>
                    </a:lnTo>
                    <a:lnTo>
                      <a:pt x="2621" y="2604"/>
                    </a:lnTo>
                    <a:lnTo>
                      <a:pt x="2627" y="2598"/>
                    </a:lnTo>
                    <a:lnTo>
                      <a:pt x="2632" y="2590"/>
                    </a:lnTo>
                    <a:lnTo>
                      <a:pt x="2639" y="2584"/>
                    </a:lnTo>
                    <a:lnTo>
                      <a:pt x="2647" y="2579"/>
                    </a:lnTo>
                    <a:lnTo>
                      <a:pt x="2655" y="2574"/>
                    </a:lnTo>
                    <a:lnTo>
                      <a:pt x="2662" y="2570"/>
                    </a:lnTo>
                    <a:lnTo>
                      <a:pt x="2671" y="2567"/>
                    </a:lnTo>
                    <a:lnTo>
                      <a:pt x="2680" y="2564"/>
                    </a:lnTo>
                    <a:lnTo>
                      <a:pt x="2690" y="2563"/>
                    </a:lnTo>
                    <a:lnTo>
                      <a:pt x="2699" y="2563"/>
                    </a:lnTo>
                    <a:lnTo>
                      <a:pt x="2709" y="2563"/>
                    </a:lnTo>
                    <a:lnTo>
                      <a:pt x="2719" y="2564"/>
                    </a:lnTo>
                    <a:lnTo>
                      <a:pt x="2728" y="2567"/>
                    </a:lnTo>
                    <a:lnTo>
                      <a:pt x="2736" y="2570"/>
                    </a:lnTo>
                    <a:lnTo>
                      <a:pt x="2745" y="2574"/>
                    </a:lnTo>
                    <a:lnTo>
                      <a:pt x="2753" y="2579"/>
                    </a:lnTo>
                    <a:lnTo>
                      <a:pt x="2759" y="2584"/>
                    </a:lnTo>
                    <a:lnTo>
                      <a:pt x="2767" y="2590"/>
                    </a:lnTo>
                    <a:lnTo>
                      <a:pt x="2773" y="2598"/>
                    </a:lnTo>
                    <a:lnTo>
                      <a:pt x="2778" y="2604"/>
                    </a:lnTo>
                    <a:lnTo>
                      <a:pt x="2783" y="2612"/>
                    </a:lnTo>
                    <a:lnTo>
                      <a:pt x="2787" y="2621"/>
                    </a:lnTo>
                    <a:lnTo>
                      <a:pt x="2790" y="2629"/>
                    </a:lnTo>
                    <a:lnTo>
                      <a:pt x="2793" y="2638"/>
                    </a:lnTo>
                    <a:lnTo>
                      <a:pt x="2794" y="2648"/>
                    </a:lnTo>
                    <a:lnTo>
                      <a:pt x="2794" y="2658"/>
                    </a:lnTo>
                    <a:lnTo>
                      <a:pt x="2794" y="2667"/>
                    </a:lnTo>
                    <a:lnTo>
                      <a:pt x="2793" y="2677"/>
                    </a:lnTo>
                    <a:lnTo>
                      <a:pt x="2790" y="2686"/>
                    </a:lnTo>
                    <a:lnTo>
                      <a:pt x="2787" y="2695"/>
                    </a:lnTo>
                    <a:lnTo>
                      <a:pt x="2783" y="2702"/>
                    </a:lnTo>
                    <a:lnTo>
                      <a:pt x="2778" y="2710"/>
                    </a:lnTo>
                    <a:lnTo>
                      <a:pt x="2773" y="2718"/>
                    </a:lnTo>
                    <a:lnTo>
                      <a:pt x="2767" y="2725"/>
                    </a:lnTo>
                    <a:lnTo>
                      <a:pt x="2759" y="2730"/>
                    </a:lnTo>
                    <a:lnTo>
                      <a:pt x="2753" y="2736"/>
                    </a:lnTo>
                    <a:lnTo>
                      <a:pt x="2745" y="2740"/>
                    </a:lnTo>
                    <a:lnTo>
                      <a:pt x="2736" y="2745"/>
                    </a:lnTo>
                    <a:lnTo>
                      <a:pt x="2728" y="2748"/>
                    </a:lnTo>
                    <a:lnTo>
                      <a:pt x="2719" y="2750"/>
                    </a:lnTo>
                    <a:lnTo>
                      <a:pt x="2709" y="2751"/>
                    </a:lnTo>
                    <a:lnTo>
                      <a:pt x="2699" y="2752"/>
                    </a:lnTo>
                    <a:lnTo>
                      <a:pt x="2690" y="2751"/>
                    </a:lnTo>
                    <a:lnTo>
                      <a:pt x="2680" y="2750"/>
                    </a:lnTo>
                    <a:lnTo>
                      <a:pt x="2671" y="2748"/>
                    </a:lnTo>
                    <a:lnTo>
                      <a:pt x="2662" y="2745"/>
                    </a:lnTo>
                    <a:lnTo>
                      <a:pt x="2655" y="2740"/>
                    </a:lnTo>
                    <a:lnTo>
                      <a:pt x="2647" y="2736"/>
                    </a:lnTo>
                    <a:lnTo>
                      <a:pt x="2639" y="2730"/>
                    </a:lnTo>
                    <a:lnTo>
                      <a:pt x="2632" y="2725"/>
                    </a:lnTo>
                    <a:lnTo>
                      <a:pt x="2627" y="2718"/>
                    </a:lnTo>
                    <a:lnTo>
                      <a:pt x="2621" y="2710"/>
                    </a:lnTo>
                    <a:lnTo>
                      <a:pt x="2617" y="2702"/>
                    </a:lnTo>
                    <a:lnTo>
                      <a:pt x="2612" y="2695"/>
                    </a:lnTo>
                    <a:lnTo>
                      <a:pt x="2609" y="2686"/>
                    </a:lnTo>
                    <a:lnTo>
                      <a:pt x="2607" y="2677"/>
                    </a:lnTo>
                    <a:lnTo>
                      <a:pt x="2606" y="2667"/>
                    </a:lnTo>
                    <a:lnTo>
                      <a:pt x="2605" y="2658"/>
                    </a:lnTo>
                    <a:close/>
                    <a:moveTo>
                      <a:pt x="2605" y="2973"/>
                    </a:moveTo>
                    <a:lnTo>
                      <a:pt x="2605" y="2973"/>
                    </a:lnTo>
                    <a:lnTo>
                      <a:pt x="2606" y="2963"/>
                    </a:lnTo>
                    <a:lnTo>
                      <a:pt x="2607" y="2954"/>
                    </a:lnTo>
                    <a:lnTo>
                      <a:pt x="2609" y="2944"/>
                    </a:lnTo>
                    <a:lnTo>
                      <a:pt x="2612" y="2936"/>
                    </a:lnTo>
                    <a:lnTo>
                      <a:pt x="2617" y="2927"/>
                    </a:lnTo>
                    <a:lnTo>
                      <a:pt x="2621" y="2919"/>
                    </a:lnTo>
                    <a:lnTo>
                      <a:pt x="2627" y="2913"/>
                    </a:lnTo>
                    <a:lnTo>
                      <a:pt x="2632" y="2906"/>
                    </a:lnTo>
                    <a:lnTo>
                      <a:pt x="2639" y="2899"/>
                    </a:lnTo>
                    <a:lnTo>
                      <a:pt x="2647" y="2894"/>
                    </a:lnTo>
                    <a:lnTo>
                      <a:pt x="2655" y="2889"/>
                    </a:lnTo>
                    <a:lnTo>
                      <a:pt x="2662" y="2885"/>
                    </a:lnTo>
                    <a:lnTo>
                      <a:pt x="2671" y="2882"/>
                    </a:lnTo>
                    <a:lnTo>
                      <a:pt x="2680" y="2879"/>
                    </a:lnTo>
                    <a:lnTo>
                      <a:pt x="2690" y="2878"/>
                    </a:lnTo>
                    <a:lnTo>
                      <a:pt x="2699" y="2878"/>
                    </a:lnTo>
                    <a:lnTo>
                      <a:pt x="2709" y="2878"/>
                    </a:lnTo>
                    <a:lnTo>
                      <a:pt x="2719" y="2879"/>
                    </a:lnTo>
                    <a:lnTo>
                      <a:pt x="2728" y="2882"/>
                    </a:lnTo>
                    <a:lnTo>
                      <a:pt x="2736" y="2885"/>
                    </a:lnTo>
                    <a:lnTo>
                      <a:pt x="2745" y="2889"/>
                    </a:lnTo>
                    <a:lnTo>
                      <a:pt x="2753" y="2894"/>
                    </a:lnTo>
                    <a:lnTo>
                      <a:pt x="2759" y="2899"/>
                    </a:lnTo>
                    <a:lnTo>
                      <a:pt x="2767" y="2906"/>
                    </a:lnTo>
                    <a:lnTo>
                      <a:pt x="2773" y="2913"/>
                    </a:lnTo>
                    <a:lnTo>
                      <a:pt x="2778" y="2919"/>
                    </a:lnTo>
                    <a:lnTo>
                      <a:pt x="2783" y="2927"/>
                    </a:lnTo>
                    <a:lnTo>
                      <a:pt x="2787" y="2936"/>
                    </a:lnTo>
                    <a:lnTo>
                      <a:pt x="2790" y="2944"/>
                    </a:lnTo>
                    <a:lnTo>
                      <a:pt x="2793" y="2954"/>
                    </a:lnTo>
                    <a:lnTo>
                      <a:pt x="2794" y="2963"/>
                    </a:lnTo>
                    <a:lnTo>
                      <a:pt x="2794" y="2973"/>
                    </a:lnTo>
                    <a:lnTo>
                      <a:pt x="2794" y="2981"/>
                    </a:lnTo>
                    <a:lnTo>
                      <a:pt x="2793" y="2991"/>
                    </a:lnTo>
                    <a:lnTo>
                      <a:pt x="2790" y="3000"/>
                    </a:lnTo>
                    <a:lnTo>
                      <a:pt x="2787" y="3009"/>
                    </a:lnTo>
                    <a:lnTo>
                      <a:pt x="2783" y="3017"/>
                    </a:lnTo>
                    <a:lnTo>
                      <a:pt x="2778" y="3025"/>
                    </a:lnTo>
                    <a:lnTo>
                      <a:pt x="2773" y="3033"/>
                    </a:lnTo>
                    <a:lnTo>
                      <a:pt x="2767" y="3039"/>
                    </a:lnTo>
                    <a:lnTo>
                      <a:pt x="2759" y="3045"/>
                    </a:lnTo>
                    <a:lnTo>
                      <a:pt x="2753" y="3050"/>
                    </a:lnTo>
                    <a:lnTo>
                      <a:pt x="2745" y="3056"/>
                    </a:lnTo>
                    <a:lnTo>
                      <a:pt x="2736" y="3059"/>
                    </a:lnTo>
                    <a:lnTo>
                      <a:pt x="2728" y="3063"/>
                    </a:lnTo>
                    <a:lnTo>
                      <a:pt x="2719" y="3065"/>
                    </a:lnTo>
                    <a:lnTo>
                      <a:pt x="2709" y="3066"/>
                    </a:lnTo>
                    <a:lnTo>
                      <a:pt x="2699" y="3067"/>
                    </a:lnTo>
                    <a:lnTo>
                      <a:pt x="2690" y="3066"/>
                    </a:lnTo>
                    <a:lnTo>
                      <a:pt x="2680" y="3065"/>
                    </a:lnTo>
                    <a:lnTo>
                      <a:pt x="2671" y="3063"/>
                    </a:lnTo>
                    <a:lnTo>
                      <a:pt x="2662" y="3059"/>
                    </a:lnTo>
                    <a:lnTo>
                      <a:pt x="2655" y="3056"/>
                    </a:lnTo>
                    <a:lnTo>
                      <a:pt x="2647" y="3050"/>
                    </a:lnTo>
                    <a:lnTo>
                      <a:pt x="2639" y="3045"/>
                    </a:lnTo>
                    <a:lnTo>
                      <a:pt x="2632" y="3039"/>
                    </a:lnTo>
                    <a:lnTo>
                      <a:pt x="2627" y="3033"/>
                    </a:lnTo>
                    <a:lnTo>
                      <a:pt x="2621" y="3025"/>
                    </a:lnTo>
                    <a:lnTo>
                      <a:pt x="2617" y="3017"/>
                    </a:lnTo>
                    <a:lnTo>
                      <a:pt x="2612" y="3009"/>
                    </a:lnTo>
                    <a:lnTo>
                      <a:pt x="2609" y="3000"/>
                    </a:lnTo>
                    <a:lnTo>
                      <a:pt x="2607" y="2991"/>
                    </a:lnTo>
                    <a:lnTo>
                      <a:pt x="2606" y="2981"/>
                    </a:lnTo>
                    <a:lnTo>
                      <a:pt x="2605" y="2973"/>
                    </a:lnTo>
                    <a:close/>
                    <a:moveTo>
                      <a:pt x="2605" y="3287"/>
                    </a:moveTo>
                    <a:lnTo>
                      <a:pt x="2605" y="3287"/>
                    </a:lnTo>
                    <a:lnTo>
                      <a:pt x="2606" y="3277"/>
                    </a:lnTo>
                    <a:lnTo>
                      <a:pt x="2607" y="3268"/>
                    </a:lnTo>
                    <a:lnTo>
                      <a:pt x="2609" y="3259"/>
                    </a:lnTo>
                    <a:lnTo>
                      <a:pt x="2612" y="3251"/>
                    </a:lnTo>
                    <a:lnTo>
                      <a:pt x="2617" y="3242"/>
                    </a:lnTo>
                    <a:lnTo>
                      <a:pt x="2621" y="3234"/>
                    </a:lnTo>
                    <a:lnTo>
                      <a:pt x="2627" y="3227"/>
                    </a:lnTo>
                    <a:lnTo>
                      <a:pt x="2632" y="3221"/>
                    </a:lnTo>
                    <a:lnTo>
                      <a:pt x="2639" y="3214"/>
                    </a:lnTo>
                    <a:lnTo>
                      <a:pt x="2647" y="3208"/>
                    </a:lnTo>
                    <a:lnTo>
                      <a:pt x="2655" y="3204"/>
                    </a:lnTo>
                    <a:lnTo>
                      <a:pt x="2662" y="3201"/>
                    </a:lnTo>
                    <a:lnTo>
                      <a:pt x="2671" y="3197"/>
                    </a:lnTo>
                    <a:lnTo>
                      <a:pt x="2680" y="3195"/>
                    </a:lnTo>
                    <a:lnTo>
                      <a:pt x="2690" y="3193"/>
                    </a:lnTo>
                    <a:lnTo>
                      <a:pt x="2699" y="3193"/>
                    </a:lnTo>
                    <a:lnTo>
                      <a:pt x="2709" y="3193"/>
                    </a:lnTo>
                    <a:lnTo>
                      <a:pt x="2719" y="3195"/>
                    </a:lnTo>
                    <a:lnTo>
                      <a:pt x="2728" y="3197"/>
                    </a:lnTo>
                    <a:lnTo>
                      <a:pt x="2736" y="3201"/>
                    </a:lnTo>
                    <a:lnTo>
                      <a:pt x="2745" y="3204"/>
                    </a:lnTo>
                    <a:lnTo>
                      <a:pt x="2753" y="3208"/>
                    </a:lnTo>
                    <a:lnTo>
                      <a:pt x="2759" y="3214"/>
                    </a:lnTo>
                    <a:lnTo>
                      <a:pt x="2767" y="3221"/>
                    </a:lnTo>
                    <a:lnTo>
                      <a:pt x="2773" y="3227"/>
                    </a:lnTo>
                    <a:lnTo>
                      <a:pt x="2778" y="3234"/>
                    </a:lnTo>
                    <a:lnTo>
                      <a:pt x="2783" y="3242"/>
                    </a:lnTo>
                    <a:lnTo>
                      <a:pt x="2787" y="3251"/>
                    </a:lnTo>
                    <a:lnTo>
                      <a:pt x="2790" y="3259"/>
                    </a:lnTo>
                    <a:lnTo>
                      <a:pt x="2793" y="3268"/>
                    </a:lnTo>
                    <a:lnTo>
                      <a:pt x="2794" y="3277"/>
                    </a:lnTo>
                    <a:lnTo>
                      <a:pt x="2794" y="3287"/>
                    </a:lnTo>
                    <a:lnTo>
                      <a:pt x="2794" y="3297"/>
                    </a:lnTo>
                    <a:lnTo>
                      <a:pt x="2793" y="3306"/>
                    </a:lnTo>
                    <a:lnTo>
                      <a:pt x="2790" y="3315"/>
                    </a:lnTo>
                    <a:lnTo>
                      <a:pt x="2787" y="3324"/>
                    </a:lnTo>
                    <a:lnTo>
                      <a:pt x="2783" y="3332"/>
                    </a:lnTo>
                    <a:lnTo>
                      <a:pt x="2778" y="3340"/>
                    </a:lnTo>
                    <a:lnTo>
                      <a:pt x="2773" y="3347"/>
                    </a:lnTo>
                    <a:lnTo>
                      <a:pt x="2767" y="3354"/>
                    </a:lnTo>
                    <a:lnTo>
                      <a:pt x="2759" y="3361"/>
                    </a:lnTo>
                    <a:lnTo>
                      <a:pt x="2753" y="3365"/>
                    </a:lnTo>
                    <a:lnTo>
                      <a:pt x="2745" y="3371"/>
                    </a:lnTo>
                    <a:lnTo>
                      <a:pt x="2736" y="3374"/>
                    </a:lnTo>
                    <a:lnTo>
                      <a:pt x="2728" y="3377"/>
                    </a:lnTo>
                    <a:lnTo>
                      <a:pt x="2719" y="3380"/>
                    </a:lnTo>
                    <a:lnTo>
                      <a:pt x="2709" y="3382"/>
                    </a:lnTo>
                    <a:lnTo>
                      <a:pt x="2699" y="3382"/>
                    </a:lnTo>
                    <a:lnTo>
                      <a:pt x="2690" y="3382"/>
                    </a:lnTo>
                    <a:lnTo>
                      <a:pt x="2680" y="3380"/>
                    </a:lnTo>
                    <a:lnTo>
                      <a:pt x="2671" y="3377"/>
                    </a:lnTo>
                    <a:lnTo>
                      <a:pt x="2662" y="3374"/>
                    </a:lnTo>
                    <a:lnTo>
                      <a:pt x="2655" y="3371"/>
                    </a:lnTo>
                    <a:lnTo>
                      <a:pt x="2647" y="3365"/>
                    </a:lnTo>
                    <a:lnTo>
                      <a:pt x="2639" y="3361"/>
                    </a:lnTo>
                    <a:lnTo>
                      <a:pt x="2632" y="3354"/>
                    </a:lnTo>
                    <a:lnTo>
                      <a:pt x="2627" y="3347"/>
                    </a:lnTo>
                    <a:lnTo>
                      <a:pt x="2621" y="3340"/>
                    </a:lnTo>
                    <a:lnTo>
                      <a:pt x="2617" y="3332"/>
                    </a:lnTo>
                    <a:lnTo>
                      <a:pt x="2612" y="3324"/>
                    </a:lnTo>
                    <a:lnTo>
                      <a:pt x="2609" y="3315"/>
                    </a:lnTo>
                    <a:lnTo>
                      <a:pt x="2607" y="3306"/>
                    </a:lnTo>
                    <a:lnTo>
                      <a:pt x="2606" y="3297"/>
                    </a:lnTo>
                    <a:lnTo>
                      <a:pt x="2605" y="3287"/>
                    </a:lnTo>
                    <a:close/>
                    <a:moveTo>
                      <a:pt x="2605" y="3602"/>
                    </a:moveTo>
                    <a:lnTo>
                      <a:pt x="2605" y="3602"/>
                    </a:lnTo>
                    <a:lnTo>
                      <a:pt x="2606" y="3592"/>
                    </a:lnTo>
                    <a:lnTo>
                      <a:pt x="2607" y="3583"/>
                    </a:lnTo>
                    <a:lnTo>
                      <a:pt x="2609" y="3574"/>
                    </a:lnTo>
                    <a:lnTo>
                      <a:pt x="2612" y="3565"/>
                    </a:lnTo>
                    <a:lnTo>
                      <a:pt x="2617" y="3558"/>
                    </a:lnTo>
                    <a:lnTo>
                      <a:pt x="2621" y="3550"/>
                    </a:lnTo>
                    <a:lnTo>
                      <a:pt x="2627" y="3542"/>
                    </a:lnTo>
                    <a:lnTo>
                      <a:pt x="2632" y="3535"/>
                    </a:lnTo>
                    <a:lnTo>
                      <a:pt x="2639" y="3529"/>
                    </a:lnTo>
                    <a:lnTo>
                      <a:pt x="2647" y="3524"/>
                    </a:lnTo>
                    <a:lnTo>
                      <a:pt x="2655" y="3519"/>
                    </a:lnTo>
                    <a:lnTo>
                      <a:pt x="2662" y="3515"/>
                    </a:lnTo>
                    <a:lnTo>
                      <a:pt x="2671" y="3512"/>
                    </a:lnTo>
                    <a:lnTo>
                      <a:pt x="2680" y="3510"/>
                    </a:lnTo>
                    <a:lnTo>
                      <a:pt x="2690" y="3507"/>
                    </a:lnTo>
                    <a:lnTo>
                      <a:pt x="2699" y="3507"/>
                    </a:lnTo>
                    <a:lnTo>
                      <a:pt x="2709" y="3507"/>
                    </a:lnTo>
                    <a:lnTo>
                      <a:pt x="2719" y="3510"/>
                    </a:lnTo>
                    <a:lnTo>
                      <a:pt x="2728" y="3512"/>
                    </a:lnTo>
                    <a:lnTo>
                      <a:pt x="2736" y="3515"/>
                    </a:lnTo>
                    <a:lnTo>
                      <a:pt x="2745" y="3519"/>
                    </a:lnTo>
                    <a:lnTo>
                      <a:pt x="2753" y="3524"/>
                    </a:lnTo>
                    <a:lnTo>
                      <a:pt x="2759" y="3529"/>
                    </a:lnTo>
                    <a:lnTo>
                      <a:pt x="2767" y="3535"/>
                    </a:lnTo>
                    <a:lnTo>
                      <a:pt x="2773" y="3542"/>
                    </a:lnTo>
                    <a:lnTo>
                      <a:pt x="2778" y="3550"/>
                    </a:lnTo>
                    <a:lnTo>
                      <a:pt x="2783" y="3558"/>
                    </a:lnTo>
                    <a:lnTo>
                      <a:pt x="2787" y="3565"/>
                    </a:lnTo>
                    <a:lnTo>
                      <a:pt x="2790" y="3574"/>
                    </a:lnTo>
                    <a:lnTo>
                      <a:pt x="2793" y="3583"/>
                    </a:lnTo>
                    <a:lnTo>
                      <a:pt x="2794" y="3592"/>
                    </a:lnTo>
                    <a:lnTo>
                      <a:pt x="2794" y="3602"/>
                    </a:lnTo>
                    <a:lnTo>
                      <a:pt x="2794" y="3612"/>
                    </a:lnTo>
                    <a:lnTo>
                      <a:pt x="2793" y="3621"/>
                    </a:lnTo>
                    <a:lnTo>
                      <a:pt x="2790" y="3630"/>
                    </a:lnTo>
                    <a:lnTo>
                      <a:pt x="2787" y="3639"/>
                    </a:lnTo>
                    <a:lnTo>
                      <a:pt x="2783" y="3648"/>
                    </a:lnTo>
                    <a:lnTo>
                      <a:pt x="2778" y="3655"/>
                    </a:lnTo>
                    <a:lnTo>
                      <a:pt x="2773" y="3662"/>
                    </a:lnTo>
                    <a:lnTo>
                      <a:pt x="2767" y="3669"/>
                    </a:lnTo>
                    <a:lnTo>
                      <a:pt x="2759" y="3675"/>
                    </a:lnTo>
                    <a:lnTo>
                      <a:pt x="2753" y="3681"/>
                    </a:lnTo>
                    <a:lnTo>
                      <a:pt x="2745" y="3685"/>
                    </a:lnTo>
                    <a:lnTo>
                      <a:pt x="2736" y="3689"/>
                    </a:lnTo>
                    <a:lnTo>
                      <a:pt x="2728" y="3692"/>
                    </a:lnTo>
                    <a:lnTo>
                      <a:pt x="2719" y="3694"/>
                    </a:lnTo>
                    <a:lnTo>
                      <a:pt x="2709" y="3697"/>
                    </a:lnTo>
                    <a:lnTo>
                      <a:pt x="2699" y="3697"/>
                    </a:lnTo>
                    <a:lnTo>
                      <a:pt x="2690" y="3697"/>
                    </a:lnTo>
                    <a:lnTo>
                      <a:pt x="2680" y="3694"/>
                    </a:lnTo>
                    <a:lnTo>
                      <a:pt x="2671" y="3692"/>
                    </a:lnTo>
                    <a:lnTo>
                      <a:pt x="2662" y="3689"/>
                    </a:lnTo>
                    <a:lnTo>
                      <a:pt x="2655" y="3685"/>
                    </a:lnTo>
                    <a:lnTo>
                      <a:pt x="2647" y="3681"/>
                    </a:lnTo>
                    <a:lnTo>
                      <a:pt x="2639" y="3675"/>
                    </a:lnTo>
                    <a:lnTo>
                      <a:pt x="2632" y="3669"/>
                    </a:lnTo>
                    <a:lnTo>
                      <a:pt x="2627" y="3662"/>
                    </a:lnTo>
                    <a:lnTo>
                      <a:pt x="2621" y="3655"/>
                    </a:lnTo>
                    <a:lnTo>
                      <a:pt x="2617" y="3648"/>
                    </a:lnTo>
                    <a:lnTo>
                      <a:pt x="2612" y="3639"/>
                    </a:lnTo>
                    <a:lnTo>
                      <a:pt x="2609" y="3630"/>
                    </a:lnTo>
                    <a:lnTo>
                      <a:pt x="2607" y="3621"/>
                    </a:lnTo>
                    <a:lnTo>
                      <a:pt x="2606" y="3612"/>
                    </a:lnTo>
                    <a:lnTo>
                      <a:pt x="2605" y="3602"/>
                    </a:lnTo>
                    <a:close/>
                    <a:moveTo>
                      <a:pt x="2605" y="3917"/>
                    </a:moveTo>
                    <a:lnTo>
                      <a:pt x="2605" y="3917"/>
                    </a:lnTo>
                    <a:lnTo>
                      <a:pt x="2606" y="3908"/>
                    </a:lnTo>
                    <a:lnTo>
                      <a:pt x="2607" y="3898"/>
                    </a:lnTo>
                    <a:lnTo>
                      <a:pt x="2609" y="3889"/>
                    </a:lnTo>
                    <a:lnTo>
                      <a:pt x="2612" y="3880"/>
                    </a:lnTo>
                    <a:lnTo>
                      <a:pt x="2617" y="3872"/>
                    </a:lnTo>
                    <a:lnTo>
                      <a:pt x="2621" y="3864"/>
                    </a:lnTo>
                    <a:lnTo>
                      <a:pt x="2627" y="3857"/>
                    </a:lnTo>
                    <a:lnTo>
                      <a:pt x="2632" y="3850"/>
                    </a:lnTo>
                    <a:lnTo>
                      <a:pt x="2639" y="3844"/>
                    </a:lnTo>
                    <a:lnTo>
                      <a:pt x="2647" y="3839"/>
                    </a:lnTo>
                    <a:lnTo>
                      <a:pt x="2655" y="3833"/>
                    </a:lnTo>
                    <a:lnTo>
                      <a:pt x="2662" y="3830"/>
                    </a:lnTo>
                    <a:lnTo>
                      <a:pt x="2671" y="3827"/>
                    </a:lnTo>
                    <a:lnTo>
                      <a:pt x="2680" y="3824"/>
                    </a:lnTo>
                    <a:lnTo>
                      <a:pt x="2690" y="3823"/>
                    </a:lnTo>
                    <a:lnTo>
                      <a:pt x="2699" y="3822"/>
                    </a:lnTo>
                    <a:lnTo>
                      <a:pt x="2709" y="3823"/>
                    </a:lnTo>
                    <a:lnTo>
                      <a:pt x="2719" y="3824"/>
                    </a:lnTo>
                    <a:lnTo>
                      <a:pt x="2728" y="3827"/>
                    </a:lnTo>
                    <a:lnTo>
                      <a:pt x="2736" y="3830"/>
                    </a:lnTo>
                    <a:lnTo>
                      <a:pt x="2745" y="3833"/>
                    </a:lnTo>
                    <a:lnTo>
                      <a:pt x="2753" y="3839"/>
                    </a:lnTo>
                    <a:lnTo>
                      <a:pt x="2759" y="3844"/>
                    </a:lnTo>
                    <a:lnTo>
                      <a:pt x="2767" y="3850"/>
                    </a:lnTo>
                    <a:lnTo>
                      <a:pt x="2773" y="3857"/>
                    </a:lnTo>
                    <a:lnTo>
                      <a:pt x="2778" y="3864"/>
                    </a:lnTo>
                    <a:lnTo>
                      <a:pt x="2783" y="3872"/>
                    </a:lnTo>
                    <a:lnTo>
                      <a:pt x="2787" y="3880"/>
                    </a:lnTo>
                    <a:lnTo>
                      <a:pt x="2790" y="3889"/>
                    </a:lnTo>
                    <a:lnTo>
                      <a:pt x="2793" y="3898"/>
                    </a:lnTo>
                    <a:lnTo>
                      <a:pt x="2794" y="3908"/>
                    </a:lnTo>
                    <a:lnTo>
                      <a:pt x="2794" y="3917"/>
                    </a:lnTo>
                    <a:lnTo>
                      <a:pt x="2794" y="3927"/>
                    </a:lnTo>
                    <a:lnTo>
                      <a:pt x="2793" y="3936"/>
                    </a:lnTo>
                    <a:lnTo>
                      <a:pt x="2790" y="3945"/>
                    </a:lnTo>
                    <a:lnTo>
                      <a:pt x="2787" y="3953"/>
                    </a:lnTo>
                    <a:lnTo>
                      <a:pt x="2783" y="3962"/>
                    </a:lnTo>
                    <a:lnTo>
                      <a:pt x="2778" y="3970"/>
                    </a:lnTo>
                    <a:lnTo>
                      <a:pt x="2773" y="3977"/>
                    </a:lnTo>
                    <a:lnTo>
                      <a:pt x="2767" y="3983"/>
                    </a:lnTo>
                    <a:lnTo>
                      <a:pt x="2759" y="3990"/>
                    </a:lnTo>
                    <a:lnTo>
                      <a:pt x="2753" y="3996"/>
                    </a:lnTo>
                    <a:lnTo>
                      <a:pt x="2745" y="4000"/>
                    </a:lnTo>
                    <a:lnTo>
                      <a:pt x="2736" y="4005"/>
                    </a:lnTo>
                    <a:lnTo>
                      <a:pt x="2728" y="4007"/>
                    </a:lnTo>
                    <a:lnTo>
                      <a:pt x="2719" y="4010"/>
                    </a:lnTo>
                    <a:lnTo>
                      <a:pt x="2709" y="4011"/>
                    </a:lnTo>
                    <a:lnTo>
                      <a:pt x="2699" y="4011"/>
                    </a:lnTo>
                    <a:lnTo>
                      <a:pt x="2690" y="4011"/>
                    </a:lnTo>
                    <a:lnTo>
                      <a:pt x="2680" y="4010"/>
                    </a:lnTo>
                    <a:lnTo>
                      <a:pt x="2671" y="4007"/>
                    </a:lnTo>
                    <a:lnTo>
                      <a:pt x="2662" y="4005"/>
                    </a:lnTo>
                    <a:lnTo>
                      <a:pt x="2655" y="4000"/>
                    </a:lnTo>
                    <a:lnTo>
                      <a:pt x="2647" y="3996"/>
                    </a:lnTo>
                    <a:lnTo>
                      <a:pt x="2639" y="3990"/>
                    </a:lnTo>
                    <a:lnTo>
                      <a:pt x="2632" y="3983"/>
                    </a:lnTo>
                    <a:lnTo>
                      <a:pt x="2627" y="3977"/>
                    </a:lnTo>
                    <a:lnTo>
                      <a:pt x="2621" y="3970"/>
                    </a:lnTo>
                    <a:lnTo>
                      <a:pt x="2617" y="3962"/>
                    </a:lnTo>
                    <a:lnTo>
                      <a:pt x="2612" y="3953"/>
                    </a:lnTo>
                    <a:lnTo>
                      <a:pt x="2609" y="3945"/>
                    </a:lnTo>
                    <a:lnTo>
                      <a:pt x="2607" y="3936"/>
                    </a:lnTo>
                    <a:lnTo>
                      <a:pt x="2606" y="3927"/>
                    </a:lnTo>
                    <a:lnTo>
                      <a:pt x="2605" y="3917"/>
                    </a:lnTo>
                    <a:close/>
                    <a:moveTo>
                      <a:pt x="1346" y="3917"/>
                    </a:moveTo>
                    <a:lnTo>
                      <a:pt x="1346" y="3917"/>
                    </a:lnTo>
                    <a:lnTo>
                      <a:pt x="1346" y="3908"/>
                    </a:lnTo>
                    <a:lnTo>
                      <a:pt x="1347" y="3898"/>
                    </a:lnTo>
                    <a:lnTo>
                      <a:pt x="1350" y="3889"/>
                    </a:lnTo>
                    <a:lnTo>
                      <a:pt x="1352" y="3880"/>
                    </a:lnTo>
                    <a:lnTo>
                      <a:pt x="1357" y="3872"/>
                    </a:lnTo>
                    <a:lnTo>
                      <a:pt x="1361" y="3864"/>
                    </a:lnTo>
                    <a:lnTo>
                      <a:pt x="1367" y="3857"/>
                    </a:lnTo>
                    <a:lnTo>
                      <a:pt x="1373" y="3850"/>
                    </a:lnTo>
                    <a:lnTo>
                      <a:pt x="1380" y="3844"/>
                    </a:lnTo>
                    <a:lnTo>
                      <a:pt x="1387" y="3839"/>
                    </a:lnTo>
                    <a:lnTo>
                      <a:pt x="1395" y="3833"/>
                    </a:lnTo>
                    <a:lnTo>
                      <a:pt x="1404" y="3830"/>
                    </a:lnTo>
                    <a:lnTo>
                      <a:pt x="1412" y="3827"/>
                    </a:lnTo>
                    <a:lnTo>
                      <a:pt x="1421" y="3824"/>
                    </a:lnTo>
                    <a:lnTo>
                      <a:pt x="1430" y="3823"/>
                    </a:lnTo>
                    <a:lnTo>
                      <a:pt x="1440" y="3822"/>
                    </a:lnTo>
                    <a:lnTo>
                      <a:pt x="1449" y="3823"/>
                    </a:lnTo>
                    <a:lnTo>
                      <a:pt x="1459" y="3824"/>
                    </a:lnTo>
                    <a:lnTo>
                      <a:pt x="1468" y="3827"/>
                    </a:lnTo>
                    <a:lnTo>
                      <a:pt x="1477" y="3830"/>
                    </a:lnTo>
                    <a:lnTo>
                      <a:pt x="1485" y="3833"/>
                    </a:lnTo>
                    <a:lnTo>
                      <a:pt x="1492" y="3839"/>
                    </a:lnTo>
                    <a:lnTo>
                      <a:pt x="1500" y="3844"/>
                    </a:lnTo>
                    <a:lnTo>
                      <a:pt x="1507" y="3850"/>
                    </a:lnTo>
                    <a:lnTo>
                      <a:pt x="1512" y="3857"/>
                    </a:lnTo>
                    <a:lnTo>
                      <a:pt x="1518" y="3864"/>
                    </a:lnTo>
                    <a:lnTo>
                      <a:pt x="1524" y="3872"/>
                    </a:lnTo>
                    <a:lnTo>
                      <a:pt x="1527" y="3880"/>
                    </a:lnTo>
                    <a:lnTo>
                      <a:pt x="1530" y="3889"/>
                    </a:lnTo>
                    <a:lnTo>
                      <a:pt x="1533" y="3898"/>
                    </a:lnTo>
                    <a:lnTo>
                      <a:pt x="1534" y="3908"/>
                    </a:lnTo>
                    <a:lnTo>
                      <a:pt x="1535" y="3917"/>
                    </a:lnTo>
                    <a:lnTo>
                      <a:pt x="1534" y="3927"/>
                    </a:lnTo>
                    <a:lnTo>
                      <a:pt x="1533" y="3936"/>
                    </a:lnTo>
                    <a:lnTo>
                      <a:pt x="1530" y="3945"/>
                    </a:lnTo>
                    <a:lnTo>
                      <a:pt x="1527" y="3953"/>
                    </a:lnTo>
                    <a:lnTo>
                      <a:pt x="1524" y="3962"/>
                    </a:lnTo>
                    <a:lnTo>
                      <a:pt x="1518" y="3970"/>
                    </a:lnTo>
                    <a:lnTo>
                      <a:pt x="1512" y="3977"/>
                    </a:lnTo>
                    <a:lnTo>
                      <a:pt x="1507" y="3983"/>
                    </a:lnTo>
                    <a:lnTo>
                      <a:pt x="1500" y="3990"/>
                    </a:lnTo>
                    <a:lnTo>
                      <a:pt x="1492" y="3996"/>
                    </a:lnTo>
                    <a:lnTo>
                      <a:pt x="1485" y="4000"/>
                    </a:lnTo>
                    <a:lnTo>
                      <a:pt x="1477" y="4005"/>
                    </a:lnTo>
                    <a:lnTo>
                      <a:pt x="1468" y="4007"/>
                    </a:lnTo>
                    <a:lnTo>
                      <a:pt x="1459" y="4010"/>
                    </a:lnTo>
                    <a:lnTo>
                      <a:pt x="1449" y="4011"/>
                    </a:lnTo>
                    <a:lnTo>
                      <a:pt x="1440" y="4011"/>
                    </a:lnTo>
                    <a:lnTo>
                      <a:pt x="1430" y="4011"/>
                    </a:lnTo>
                    <a:lnTo>
                      <a:pt x="1421" y="4010"/>
                    </a:lnTo>
                    <a:lnTo>
                      <a:pt x="1412" y="4007"/>
                    </a:lnTo>
                    <a:lnTo>
                      <a:pt x="1404" y="4005"/>
                    </a:lnTo>
                    <a:lnTo>
                      <a:pt x="1395" y="4000"/>
                    </a:lnTo>
                    <a:lnTo>
                      <a:pt x="1387" y="3996"/>
                    </a:lnTo>
                    <a:lnTo>
                      <a:pt x="1380" y="3990"/>
                    </a:lnTo>
                    <a:lnTo>
                      <a:pt x="1373" y="3983"/>
                    </a:lnTo>
                    <a:lnTo>
                      <a:pt x="1367" y="3977"/>
                    </a:lnTo>
                    <a:lnTo>
                      <a:pt x="1361" y="3970"/>
                    </a:lnTo>
                    <a:lnTo>
                      <a:pt x="1357" y="3962"/>
                    </a:lnTo>
                    <a:lnTo>
                      <a:pt x="1352" y="3953"/>
                    </a:lnTo>
                    <a:lnTo>
                      <a:pt x="1350" y="3945"/>
                    </a:lnTo>
                    <a:lnTo>
                      <a:pt x="1347" y="3936"/>
                    </a:lnTo>
                    <a:lnTo>
                      <a:pt x="1346" y="3927"/>
                    </a:lnTo>
                    <a:lnTo>
                      <a:pt x="1346" y="3917"/>
                    </a:lnTo>
                    <a:close/>
                    <a:moveTo>
                      <a:pt x="1031" y="3917"/>
                    </a:moveTo>
                    <a:lnTo>
                      <a:pt x="1031" y="3917"/>
                    </a:lnTo>
                    <a:lnTo>
                      <a:pt x="1031" y="3908"/>
                    </a:lnTo>
                    <a:lnTo>
                      <a:pt x="1032" y="3898"/>
                    </a:lnTo>
                    <a:lnTo>
                      <a:pt x="1034" y="3889"/>
                    </a:lnTo>
                    <a:lnTo>
                      <a:pt x="1038" y="3880"/>
                    </a:lnTo>
                    <a:lnTo>
                      <a:pt x="1042" y="3872"/>
                    </a:lnTo>
                    <a:lnTo>
                      <a:pt x="1047" y="3864"/>
                    </a:lnTo>
                    <a:lnTo>
                      <a:pt x="1052" y="3857"/>
                    </a:lnTo>
                    <a:lnTo>
                      <a:pt x="1059" y="3850"/>
                    </a:lnTo>
                    <a:lnTo>
                      <a:pt x="1065" y="3844"/>
                    </a:lnTo>
                    <a:lnTo>
                      <a:pt x="1072" y="3839"/>
                    </a:lnTo>
                    <a:lnTo>
                      <a:pt x="1080" y="3833"/>
                    </a:lnTo>
                    <a:lnTo>
                      <a:pt x="1089" y="3830"/>
                    </a:lnTo>
                    <a:lnTo>
                      <a:pt x="1097" y="3827"/>
                    </a:lnTo>
                    <a:lnTo>
                      <a:pt x="1107" y="3824"/>
                    </a:lnTo>
                    <a:lnTo>
                      <a:pt x="1115" y="3823"/>
                    </a:lnTo>
                    <a:lnTo>
                      <a:pt x="1125" y="3822"/>
                    </a:lnTo>
                    <a:lnTo>
                      <a:pt x="1134" y="3823"/>
                    </a:lnTo>
                    <a:lnTo>
                      <a:pt x="1144" y="3824"/>
                    </a:lnTo>
                    <a:lnTo>
                      <a:pt x="1153" y="3827"/>
                    </a:lnTo>
                    <a:lnTo>
                      <a:pt x="1162" y="3830"/>
                    </a:lnTo>
                    <a:lnTo>
                      <a:pt x="1170" y="3833"/>
                    </a:lnTo>
                    <a:lnTo>
                      <a:pt x="1178" y="3839"/>
                    </a:lnTo>
                    <a:lnTo>
                      <a:pt x="1186" y="3844"/>
                    </a:lnTo>
                    <a:lnTo>
                      <a:pt x="1192" y="3850"/>
                    </a:lnTo>
                    <a:lnTo>
                      <a:pt x="1198" y="3857"/>
                    </a:lnTo>
                    <a:lnTo>
                      <a:pt x="1203" y="3864"/>
                    </a:lnTo>
                    <a:lnTo>
                      <a:pt x="1208" y="3872"/>
                    </a:lnTo>
                    <a:lnTo>
                      <a:pt x="1212" y="3880"/>
                    </a:lnTo>
                    <a:lnTo>
                      <a:pt x="1216" y="3889"/>
                    </a:lnTo>
                    <a:lnTo>
                      <a:pt x="1218" y="3898"/>
                    </a:lnTo>
                    <a:lnTo>
                      <a:pt x="1219" y="3908"/>
                    </a:lnTo>
                    <a:lnTo>
                      <a:pt x="1220" y="3917"/>
                    </a:lnTo>
                    <a:lnTo>
                      <a:pt x="1219" y="3927"/>
                    </a:lnTo>
                    <a:lnTo>
                      <a:pt x="1218" y="3936"/>
                    </a:lnTo>
                    <a:lnTo>
                      <a:pt x="1216" y="3945"/>
                    </a:lnTo>
                    <a:lnTo>
                      <a:pt x="1212" y="3953"/>
                    </a:lnTo>
                    <a:lnTo>
                      <a:pt x="1208" y="3962"/>
                    </a:lnTo>
                    <a:lnTo>
                      <a:pt x="1203" y="3970"/>
                    </a:lnTo>
                    <a:lnTo>
                      <a:pt x="1198" y="3977"/>
                    </a:lnTo>
                    <a:lnTo>
                      <a:pt x="1192" y="3983"/>
                    </a:lnTo>
                    <a:lnTo>
                      <a:pt x="1186" y="3990"/>
                    </a:lnTo>
                    <a:lnTo>
                      <a:pt x="1178" y="3996"/>
                    </a:lnTo>
                    <a:lnTo>
                      <a:pt x="1170" y="4000"/>
                    </a:lnTo>
                    <a:lnTo>
                      <a:pt x="1162" y="4005"/>
                    </a:lnTo>
                    <a:lnTo>
                      <a:pt x="1153" y="4007"/>
                    </a:lnTo>
                    <a:lnTo>
                      <a:pt x="1144" y="4010"/>
                    </a:lnTo>
                    <a:lnTo>
                      <a:pt x="1134" y="4011"/>
                    </a:lnTo>
                    <a:lnTo>
                      <a:pt x="1125" y="4011"/>
                    </a:lnTo>
                    <a:lnTo>
                      <a:pt x="1115" y="4011"/>
                    </a:lnTo>
                    <a:lnTo>
                      <a:pt x="1107" y="4010"/>
                    </a:lnTo>
                    <a:lnTo>
                      <a:pt x="1097" y="4007"/>
                    </a:lnTo>
                    <a:lnTo>
                      <a:pt x="1089" y="4005"/>
                    </a:lnTo>
                    <a:lnTo>
                      <a:pt x="1080" y="4000"/>
                    </a:lnTo>
                    <a:lnTo>
                      <a:pt x="1072" y="3996"/>
                    </a:lnTo>
                    <a:lnTo>
                      <a:pt x="1065" y="3990"/>
                    </a:lnTo>
                    <a:lnTo>
                      <a:pt x="1059" y="3983"/>
                    </a:lnTo>
                    <a:lnTo>
                      <a:pt x="1052" y="3977"/>
                    </a:lnTo>
                    <a:lnTo>
                      <a:pt x="1047" y="3970"/>
                    </a:lnTo>
                    <a:lnTo>
                      <a:pt x="1042" y="3962"/>
                    </a:lnTo>
                    <a:lnTo>
                      <a:pt x="1038" y="3953"/>
                    </a:lnTo>
                    <a:lnTo>
                      <a:pt x="1034" y="3945"/>
                    </a:lnTo>
                    <a:lnTo>
                      <a:pt x="1032" y="3936"/>
                    </a:lnTo>
                    <a:lnTo>
                      <a:pt x="1031" y="3927"/>
                    </a:lnTo>
                    <a:lnTo>
                      <a:pt x="1031" y="3917"/>
                    </a:lnTo>
                    <a:close/>
                    <a:moveTo>
                      <a:pt x="715" y="3917"/>
                    </a:moveTo>
                    <a:lnTo>
                      <a:pt x="715" y="3917"/>
                    </a:lnTo>
                    <a:lnTo>
                      <a:pt x="716" y="3908"/>
                    </a:lnTo>
                    <a:lnTo>
                      <a:pt x="717" y="3898"/>
                    </a:lnTo>
                    <a:lnTo>
                      <a:pt x="720" y="3889"/>
                    </a:lnTo>
                    <a:lnTo>
                      <a:pt x="723" y="3880"/>
                    </a:lnTo>
                    <a:lnTo>
                      <a:pt x="727" y="3872"/>
                    </a:lnTo>
                    <a:lnTo>
                      <a:pt x="732" y="3864"/>
                    </a:lnTo>
                    <a:lnTo>
                      <a:pt x="737" y="3857"/>
                    </a:lnTo>
                    <a:lnTo>
                      <a:pt x="743" y="3850"/>
                    </a:lnTo>
                    <a:lnTo>
                      <a:pt x="750" y="3844"/>
                    </a:lnTo>
                    <a:lnTo>
                      <a:pt x="757" y="3839"/>
                    </a:lnTo>
                    <a:lnTo>
                      <a:pt x="765" y="3833"/>
                    </a:lnTo>
                    <a:lnTo>
                      <a:pt x="773" y="3830"/>
                    </a:lnTo>
                    <a:lnTo>
                      <a:pt x="782" y="3827"/>
                    </a:lnTo>
                    <a:lnTo>
                      <a:pt x="791" y="3824"/>
                    </a:lnTo>
                    <a:lnTo>
                      <a:pt x="801" y="3823"/>
                    </a:lnTo>
                    <a:lnTo>
                      <a:pt x="811" y="3822"/>
                    </a:lnTo>
                    <a:lnTo>
                      <a:pt x="820" y="3823"/>
                    </a:lnTo>
                    <a:lnTo>
                      <a:pt x="830" y="3824"/>
                    </a:lnTo>
                    <a:lnTo>
                      <a:pt x="839" y="3827"/>
                    </a:lnTo>
                    <a:lnTo>
                      <a:pt x="847" y="3830"/>
                    </a:lnTo>
                    <a:lnTo>
                      <a:pt x="855" y="3833"/>
                    </a:lnTo>
                    <a:lnTo>
                      <a:pt x="863" y="3839"/>
                    </a:lnTo>
                    <a:lnTo>
                      <a:pt x="871" y="3844"/>
                    </a:lnTo>
                    <a:lnTo>
                      <a:pt x="877" y="3850"/>
                    </a:lnTo>
                    <a:lnTo>
                      <a:pt x="883" y="3857"/>
                    </a:lnTo>
                    <a:lnTo>
                      <a:pt x="889" y="3864"/>
                    </a:lnTo>
                    <a:lnTo>
                      <a:pt x="893" y="3872"/>
                    </a:lnTo>
                    <a:lnTo>
                      <a:pt x="897" y="3880"/>
                    </a:lnTo>
                    <a:lnTo>
                      <a:pt x="901" y="3889"/>
                    </a:lnTo>
                    <a:lnTo>
                      <a:pt x="903" y="3898"/>
                    </a:lnTo>
                    <a:lnTo>
                      <a:pt x="904" y="3908"/>
                    </a:lnTo>
                    <a:lnTo>
                      <a:pt x="905" y="3917"/>
                    </a:lnTo>
                    <a:lnTo>
                      <a:pt x="904" y="3927"/>
                    </a:lnTo>
                    <a:lnTo>
                      <a:pt x="903" y="3936"/>
                    </a:lnTo>
                    <a:lnTo>
                      <a:pt x="901" y="3945"/>
                    </a:lnTo>
                    <a:lnTo>
                      <a:pt x="897" y="3953"/>
                    </a:lnTo>
                    <a:lnTo>
                      <a:pt x="893" y="3962"/>
                    </a:lnTo>
                    <a:lnTo>
                      <a:pt x="889" y="3970"/>
                    </a:lnTo>
                    <a:lnTo>
                      <a:pt x="883" y="3977"/>
                    </a:lnTo>
                    <a:lnTo>
                      <a:pt x="877" y="3983"/>
                    </a:lnTo>
                    <a:lnTo>
                      <a:pt x="871" y="3990"/>
                    </a:lnTo>
                    <a:lnTo>
                      <a:pt x="863" y="3996"/>
                    </a:lnTo>
                    <a:lnTo>
                      <a:pt x="855" y="4000"/>
                    </a:lnTo>
                    <a:lnTo>
                      <a:pt x="847" y="4005"/>
                    </a:lnTo>
                    <a:lnTo>
                      <a:pt x="839" y="4007"/>
                    </a:lnTo>
                    <a:lnTo>
                      <a:pt x="830" y="4010"/>
                    </a:lnTo>
                    <a:lnTo>
                      <a:pt x="820" y="4011"/>
                    </a:lnTo>
                    <a:lnTo>
                      <a:pt x="811" y="4011"/>
                    </a:lnTo>
                    <a:lnTo>
                      <a:pt x="801" y="4011"/>
                    </a:lnTo>
                    <a:lnTo>
                      <a:pt x="791" y="4010"/>
                    </a:lnTo>
                    <a:lnTo>
                      <a:pt x="782" y="4007"/>
                    </a:lnTo>
                    <a:lnTo>
                      <a:pt x="773" y="4005"/>
                    </a:lnTo>
                    <a:lnTo>
                      <a:pt x="765" y="4000"/>
                    </a:lnTo>
                    <a:lnTo>
                      <a:pt x="757" y="3996"/>
                    </a:lnTo>
                    <a:lnTo>
                      <a:pt x="750" y="3990"/>
                    </a:lnTo>
                    <a:lnTo>
                      <a:pt x="743" y="3983"/>
                    </a:lnTo>
                    <a:lnTo>
                      <a:pt x="737" y="3977"/>
                    </a:lnTo>
                    <a:lnTo>
                      <a:pt x="732" y="3970"/>
                    </a:lnTo>
                    <a:lnTo>
                      <a:pt x="727" y="3962"/>
                    </a:lnTo>
                    <a:lnTo>
                      <a:pt x="723" y="3953"/>
                    </a:lnTo>
                    <a:lnTo>
                      <a:pt x="720" y="3945"/>
                    </a:lnTo>
                    <a:lnTo>
                      <a:pt x="717" y="3936"/>
                    </a:lnTo>
                    <a:lnTo>
                      <a:pt x="716" y="3927"/>
                    </a:lnTo>
                    <a:lnTo>
                      <a:pt x="715" y="3917"/>
                    </a:lnTo>
                    <a:close/>
                    <a:moveTo>
                      <a:pt x="400" y="3917"/>
                    </a:moveTo>
                    <a:lnTo>
                      <a:pt x="400" y="3917"/>
                    </a:lnTo>
                    <a:lnTo>
                      <a:pt x="401" y="3908"/>
                    </a:lnTo>
                    <a:lnTo>
                      <a:pt x="403" y="3898"/>
                    </a:lnTo>
                    <a:lnTo>
                      <a:pt x="405" y="3889"/>
                    </a:lnTo>
                    <a:lnTo>
                      <a:pt x="408" y="3880"/>
                    </a:lnTo>
                    <a:lnTo>
                      <a:pt x="413" y="3872"/>
                    </a:lnTo>
                    <a:lnTo>
                      <a:pt x="417" y="3864"/>
                    </a:lnTo>
                    <a:lnTo>
                      <a:pt x="423" y="3857"/>
                    </a:lnTo>
                    <a:lnTo>
                      <a:pt x="428" y="3850"/>
                    </a:lnTo>
                    <a:lnTo>
                      <a:pt x="435" y="3844"/>
                    </a:lnTo>
                    <a:lnTo>
                      <a:pt x="443" y="3839"/>
                    </a:lnTo>
                    <a:lnTo>
                      <a:pt x="450" y="3833"/>
                    </a:lnTo>
                    <a:lnTo>
                      <a:pt x="458" y="3830"/>
                    </a:lnTo>
                    <a:lnTo>
                      <a:pt x="467" y="3827"/>
                    </a:lnTo>
                    <a:lnTo>
                      <a:pt x="476" y="3824"/>
                    </a:lnTo>
                    <a:lnTo>
                      <a:pt x="486" y="3823"/>
                    </a:lnTo>
                    <a:lnTo>
                      <a:pt x="495" y="3822"/>
                    </a:lnTo>
                    <a:lnTo>
                      <a:pt x="505" y="3823"/>
                    </a:lnTo>
                    <a:lnTo>
                      <a:pt x="515" y="3824"/>
                    </a:lnTo>
                    <a:lnTo>
                      <a:pt x="524" y="3827"/>
                    </a:lnTo>
                    <a:lnTo>
                      <a:pt x="532" y="3830"/>
                    </a:lnTo>
                    <a:lnTo>
                      <a:pt x="540" y="3833"/>
                    </a:lnTo>
                    <a:lnTo>
                      <a:pt x="548" y="3839"/>
                    </a:lnTo>
                    <a:lnTo>
                      <a:pt x="555" y="3844"/>
                    </a:lnTo>
                    <a:lnTo>
                      <a:pt x="562" y="3850"/>
                    </a:lnTo>
                    <a:lnTo>
                      <a:pt x="568" y="3857"/>
                    </a:lnTo>
                    <a:lnTo>
                      <a:pt x="574" y="3864"/>
                    </a:lnTo>
                    <a:lnTo>
                      <a:pt x="578" y="3872"/>
                    </a:lnTo>
                    <a:lnTo>
                      <a:pt x="583" y="3880"/>
                    </a:lnTo>
                    <a:lnTo>
                      <a:pt x="586" y="3889"/>
                    </a:lnTo>
                    <a:lnTo>
                      <a:pt x="588" y="3898"/>
                    </a:lnTo>
                    <a:lnTo>
                      <a:pt x="589" y="3908"/>
                    </a:lnTo>
                    <a:lnTo>
                      <a:pt x="589" y="3917"/>
                    </a:lnTo>
                    <a:lnTo>
                      <a:pt x="589" y="3927"/>
                    </a:lnTo>
                    <a:lnTo>
                      <a:pt x="588" y="3936"/>
                    </a:lnTo>
                    <a:lnTo>
                      <a:pt x="586" y="3945"/>
                    </a:lnTo>
                    <a:lnTo>
                      <a:pt x="583" y="3953"/>
                    </a:lnTo>
                    <a:lnTo>
                      <a:pt x="578" y="3962"/>
                    </a:lnTo>
                    <a:lnTo>
                      <a:pt x="574" y="3970"/>
                    </a:lnTo>
                    <a:lnTo>
                      <a:pt x="568" y="3977"/>
                    </a:lnTo>
                    <a:lnTo>
                      <a:pt x="562" y="3983"/>
                    </a:lnTo>
                    <a:lnTo>
                      <a:pt x="555" y="3990"/>
                    </a:lnTo>
                    <a:lnTo>
                      <a:pt x="548" y="3996"/>
                    </a:lnTo>
                    <a:lnTo>
                      <a:pt x="540" y="4000"/>
                    </a:lnTo>
                    <a:lnTo>
                      <a:pt x="532" y="4005"/>
                    </a:lnTo>
                    <a:lnTo>
                      <a:pt x="524" y="4007"/>
                    </a:lnTo>
                    <a:lnTo>
                      <a:pt x="515" y="4010"/>
                    </a:lnTo>
                    <a:lnTo>
                      <a:pt x="505" y="4011"/>
                    </a:lnTo>
                    <a:lnTo>
                      <a:pt x="495" y="4011"/>
                    </a:lnTo>
                    <a:lnTo>
                      <a:pt x="486" y="4011"/>
                    </a:lnTo>
                    <a:lnTo>
                      <a:pt x="476" y="4010"/>
                    </a:lnTo>
                    <a:lnTo>
                      <a:pt x="467" y="4007"/>
                    </a:lnTo>
                    <a:lnTo>
                      <a:pt x="458" y="4005"/>
                    </a:lnTo>
                    <a:lnTo>
                      <a:pt x="450" y="4000"/>
                    </a:lnTo>
                    <a:lnTo>
                      <a:pt x="443" y="3996"/>
                    </a:lnTo>
                    <a:lnTo>
                      <a:pt x="435" y="3990"/>
                    </a:lnTo>
                    <a:lnTo>
                      <a:pt x="428" y="3983"/>
                    </a:lnTo>
                    <a:lnTo>
                      <a:pt x="423" y="3977"/>
                    </a:lnTo>
                    <a:lnTo>
                      <a:pt x="417" y="3970"/>
                    </a:lnTo>
                    <a:lnTo>
                      <a:pt x="413" y="3962"/>
                    </a:lnTo>
                    <a:lnTo>
                      <a:pt x="408" y="3953"/>
                    </a:lnTo>
                    <a:lnTo>
                      <a:pt x="405" y="3945"/>
                    </a:lnTo>
                    <a:lnTo>
                      <a:pt x="403" y="3936"/>
                    </a:lnTo>
                    <a:lnTo>
                      <a:pt x="401" y="3927"/>
                    </a:lnTo>
                    <a:lnTo>
                      <a:pt x="400" y="3917"/>
                    </a:lnTo>
                    <a:close/>
                    <a:moveTo>
                      <a:pt x="387" y="3616"/>
                    </a:moveTo>
                    <a:lnTo>
                      <a:pt x="387" y="3616"/>
                    </a:lnTo>
                    <a:lnTo>
                      <a:pt x="387" y="3606"/>
                    </a:lnTo>
                    <a:lnTo>
                      <a:pt x="389" y="3596"/>
                    </a:lnTo>
                    <a:lnTo>
                      <a:pt x="391" y="3588"/>
                    </a:lnTo>
                    <a:lnTo>
                      <a:pt x="394" y="3579"/>
                    </a:lnTo>
                    <a:lnTo>
                      <a:pt x="398" y="3571"/>
                    </a:lnTo>
                    <a:lnTo>
                      <a:pt x="403" y="3563"/>
                    </a:lnTo>
                    <a:lnTo>
                      <a:pt x="408" y="3555"/>
                    </a:lnTo>
                    <a:lnTo>
                      <a:pt x="415" y="3549"/>
                    </a:lnTo>
                    <a:lnTo>
                      <a:pt x="421" y="3543"/>
                    </a:lnTo>
                    <a:lnTo>
                      <a:pt x="428" y="3537"/>
                    </a:lnTo>
                    <a:lnTo>
                      <a:pt x="436" y="3533"/>
                    </a:lnTo>
                    <a:lnTo>
                      <a:pt x="445" y="3529"/>
                    </a:lnTo>
                    <a:lnTo>
                      <a:pt x="454" y="3525"/>
                    </a:lnTo>
                    <a:lnTo>
                      <a:pt x="463" y="3523"/>
                    </a:lnTo>
                    <a:lnTo>
                      <a:pt x="472" y="3522"/>
                    </a:lnTo>
                    <a:lnTo>
                      <a:pt x="482" y="3522"/>
                    </a:lnTo>
                    <a:lnTo>
                      <a:pt x="492" y="3522"/>
                    </a:lnTo>
                    <a:lnTo>
                      <a:pt x="500" y="3523"/>
                    </a:lnTo>
                    <a:lnTo>
                      <a:pt x="509" y="3525"/>
                    </a:lnTo>
                    <a:lnTo>
                      <a:pt x="518" y="3529"/>
                    </a:lnTo>
                    <a:lnTo>
                      <a:pt x="526" y="3533"/>
                    </a:lnTo>
                    <a:lnTo>
                      <a:pt x="534" y="3537"/>
                    </a:lnTo>
                    <a:lnTo>
                      <a:pt x="542" y="3543"/>
                    </a:lnTo>
                    <a:lnTo>
                      <a:pt x="548" y="3549"/>
                    </a:lnTo>
                    <a:lnTo>
                      <a:pt x="554" y="3555"/>
                    </a:lnTo>
                    <a:lnTo>
                      <a:pt x="559" y="3563"/>
                    </a:lnTo>
                    <a:lnTo>
                      <a:pt x="565" y="3571"/>
                    </a:lnTo>
                    <a:lnTo>
                      <a:pt x="568" y="3579"/>
                    </a:lnTo>
                    <a:lnTo>
                      <a:pt x="572" y="3588"/>
                    </a:lnTo>
                    <a:lnTo>
                      <a:pt x="574" y="3596"/>
                    </a:lnTo>
                    <a:lnTo>
                      <a:pt x="575" y="3606"/>
                    </a:lnTo>
                    <a:lnTo>
                      <a:pt x="576" y="3616"/>
                    </a:lnTo>
                    <a:lnTo>
                      <a:pt x="575" y="3625"/>
                    </a:lnTo>
                    <a:lnTo>
                      <a:pt x="574" y="3635"/>
                    </a:lnTo>
                    <a:lnTo>
                      <a:pt x="572" y="3644"/>
                    </a:lnTo>
                    <a:lnTo>
                      <a:pt x="568" y="3653"/>
                    </a:lnTo>
                    <a:lnTo>
                      <a:pt x="565" y="3661"/>
                    </a:lnTo>
                    <a:lnTo>
                      <a:pt x="559" y="3669"/>
                    </a:lnTo>
                    <a:lnTo>
                      <a:pt x="554" y="3677"/>
                    </a:lnTo>
                    <a:lnTo>
                      <a:pt x="548" y="3683"/>
                    </a:lnTo>
                    <a:lnTo>
                      <a:pt x="542" y="3689"/>
                    </a:lnTo>
                    <a:lnTo>
                      <a:pt x="534" y="3694"/>
                    </a:lnTo>
                    <a:lnTo>
                      <a:pt x="526" y="3699"/>
                    </a:lnTo>
                    <a:lnTo>
                      <a:pt x="518" y="3703"/>
                    </a:lnTo>
                    <a:lnTo>
                      <a:pt x="509" y="3707"/>
                    </a:lnTo>
                    <a:lnTo>
                      <a:pt x="500" y="3709"/>
                    </a:lnTo>
                    <a:lnTo>
                      <a:pt x="492" y="3710"/>
                    </a:lnTo>
                    <a:lnTo>
                      <a:pt x="482" y="3711"/>
                    </a:lnTo>
                    <a:lnTo>
                      <a:pt x="472" y="3710"/>
                    </a:lnTo>
                    <a:lnTo>
                      <a:pt x="463" y="3709"/>
                    </a:lnTo>
                    <a:lnTo>
                      <a:pt x="454" y="3707"/>
                    </a:lnTo>
                    <a:lnTo>
                      <a:pt x="445" y="3703"/>
                    </a:lnTo>
                    <a:lnTo>
                      <a:pt x="436" y="3699"/>
                    </a:lnTo>
                    <a:lnTo>
                      <a:pt x="428" y="3694"/>
                    </a:lnTo>
                    <a:lnTo>
                      <a:pt x="421" y="3689"/>
                    </a:lnTo>
                    <a:lnTo>
                      <a:pt x="415" y="3683"/>
                    </a:lnTo>
                    <a:lnTo>
                      <a:pt x="408" y="3677"/>
                    </a:lnTo>
                    <a:lnTo>
                      <a:pt x="403" y="3669"/>
                    </a:lnTo>
                    <a:lnTo>
                      <a:pt x="398" y="3661"/>
                    </a:lnTo>
                    <a:lnTo>
                      <a:pt x="394" y="3653"/>
                    </a:lnTo>
                    <a:lnTo>
                      <a:pt x="391" y="3644"/>
                    </a:lnTo>
                    <a:lnTo>
                      <a:pt x="389" y="3635"/>
                    </a:lnTo>
                    <a:lnTo>
                      <a:pt x="387" y="3625"/>
                    </a:lnTo>
                    <a:lnTo>
                      <a:pt x="387" y="3616"/>
                    </a:lnTo>
                    <a:close/>
                    <a:moveTo>
                      <a:pt x="387" y="3301"/>
                    </a:moveTo>
                    <a:lnTo>
                      <a:pt x="387" y="3301"/>
                    </a:lnTo>
                    <a:lnTo>
                      <a:pt x="387" y="3292"/>
                    </a:lnTo>
                    <a:lnTo>
                      <a:pt x="389" y="3282"/>
                    </a:lnTo>
                    <a:lnTo>
                      <a:pt x="391" y="3273"/>
                    </a:lnTo>
                    <a:lnTo>
                      <a:pt x="394" y="3264"/>
                    </a:lnTo>
                    <a:lnTo>
                      <a:pt x="398" y="3256"/>
                    </a:lnTo>
                    <a:lnTo>
                      <a:pt x="403" y="3248"/>
                    </a:lnTo>
                    <a:lnTo>
                      <a:pt x="408" y="3241"/>
                    </a:lnTo>
                    <a:lnTo>
                      <a:pt x="415" y="3234"/>
                    </a:lnTo>
                    <a:lnTo>
                      <a:pt x="421" y="3228"/>
                    </a:lnTo>
                    <a:lnTo>
                      <a:pt x="428" y="3223"/>
                    </a:lnTo>
                    <a:lnTo>
                      <a:pt x="436" y="3218"/>
                    </a:lnTo>
                    <a:lnTo>
                      <a:pt x="445" y="3214"/>
                    </a:lnTo>
                    <a:lnTo>
                      <a:pt x="454" y="3211"/>
                    </a:lnTo>
                    <a:lnTo>
                      <a:pt x="463" y="3208"/>
                    </a:lnTo>
                    <a:lnTo>
                      <a:pt x="472" y="3207"/>
                    </a:lnTo>
                    <a:lnTo>
                      <a:pt x="482" y="3206"/>
                    </a:lnTo>
                    <a:lnTo>
                      <a:pt x="492" y="3207"/>
                    </a:lnTo>
                    <a:lnTo>
                      <a:pt x="500" y="3208"/>
                    </a:lnTo>
                    <a:lnTo>
                      <a:pt x="509" y="3211"/>
                    </a:lnTo>
                    <a:lnTo>
                      <a:pt x="518" y="3214"/>
                    </a:lnTo>
                    <a:lnTo>
                      <a:pt x="526" y="3218"/>
                    </a:lnTo>
                    <a:lnTo>
                      <a:pt x="534" y="3223"/>
                    </a:lnTo>
                    <a:lnTo>
                      <a:pt x="542" y="3228"/>
                    </a:lnTo>
                    <a:lnTo>
                      <a:pt x="548" y="3234"/>
                    </a:lnTo>
                    <a:lnTo>
                      <a:pt x="554" y="3241"/>
                    </a:lnTo>
                    <a:lnTo>
                      <a:pt x="559" y="3248"/>
                    </a:lnTo>
                    <a:lnTo>
                      <a:pt x="565" y="3256"/>
                    </a:lnTo>
                    <a:lnTo>
                      <a:pt x="568" y="3264"/>
                    </a:lnTo>
                    <a:lnTo>
                      <a:pt x="572" y="3273"/>
                    </a:lnTo>
                    <a:lnTo>
                      <a:pt x="574" y="3282"/>
                    </a:lnTo>
                    <a:lnTo>
                      <a:pt x="575" y="3292"/>
                    </a:lnTo>
                    <a:lnTo>
                      <a:pt x="576" y="3301"/>
                    </a:lnTo>
                    <a:lnTo>
                      <a:pt x="575" y="3311"/>
                    </a:lnTo>
                    <a:lnTo>
                      <a:pt x="574" y="3321"/>
                    </a:lnTo>
                    <a:lnTo>
                      <a:pt x="572" y="3330"/>
                    </a:lnTo>
                    <a:lnTo>
                      <a:pt x="568" y="3338"/>
                    </a:lnTo>
                    <a:lnTo>
                      <a:pt x="565" y="3346"/>
                    </a:lnTo>
                    <a:lnTo>
                      <a:pt x="559" y="3354"/>
                    </a:lnTo>
                    <a:lnTo>
                      <a:pt x="554" y="3362"/>
                    </a:lnTo>
                    <a:lnTo>
                      <a:pt x="548" y="3368"/>
                    </a:lnTo>
                    <a:lnTo>
                      <a:pt x="542" y="3374"/>
                    </a:lnTo>
                    <a:lnTo>
                      <a:pt x="534" y="3380"/>
                    </a:lnTo>
                    <a:lnTo>
                      <a:pt x="526" y="3384"/>
                    </a:lnTo>
                    <a:lnTo>
                      <a:pt x="518" y="3388"/>
                    </a:lnTo>
                    <a:lnTo>
                      <a:pt x="509" y="3392"/>
                    </a:lnTo>
                    <a:lnTo>
                      <a:pt x="500" y="3394"/>
                    </a:lnTo>
                    <a:lnTo>
                      <a:pt x="492" y="3395"/>
                    </a:lnTo>
                    <a:lnTo>
                      <a:pt x="482" y="3395"/>
                    </a:lnTo>
                    <a:lnTo>
                      <a:pt x="472" y="3395"/>
                    </a:lnTo>
                    <a:lnTo>
                      <a:pt x="463" y="3394"/>
                    </a:lnTo>
                    <a:lnTo>
                      <a:pt x="454" y="3392"/>
                    </a:lnTo>
                    <a:lnTo>
                      <a:pt x="445" y="3388"/>
                    </a:lnTo>
                    <a:lnTo>
                      <a:pt x="436" y="3384"/>
                    </a:lnTo>
                    <a:lnTo>
                      <a:pt x="428" y="3380"/>
                    </a:lnTo>
                    <a:lnTo>
                      <a:pt x="421" y="3374"/>
                    </a:lnTo>
                    <a:lnTo>
                      <a:pt x="415" y="3368"/>
                    </a:lnTo>
                    <a:lnTo>
                      <a:pt x="408" y="3362"/>
                    </a:lnTo>
                    <a:lnTo>
                      <a:pt x="403" y="3354"/>
                    </a:lnTo>
                    <a:lnTo>
                      <a:pt x="398" y="3346"/>
                    </a:lnTo>
                    <a:lnTo>
                      <a:pt x="394" y="3338"/>
                    </a:lnTo>
                    <a:lnTo>
                      <a:pt x="391" y="3330"/>
                    </a:lnTo>
                    <a:lnTo>
                      <a:pt x="389" y="3321"/>
                    </a:lnTo>
                    <a:lnTo>
                      <a:pt x="387" y="3311"/>
                    </a:lnTo>
                    <a:lnTo>
                      <a:pt x="387" y="3301"/>
                    </a:lnTo>
                    <a:close/>
                    <a:moveTo>
                      <a:pt x="387" y="2986"/>
                    </a:moveTo>
                    <a:lnTo>
                      <a:pt x="387" y="2986"/>
                    </a:lnTo>
                    <a:lnTo>
                      <a:pt x="387" y="2977"/>
                    </a:lnTo>
                    <a:lnTo>
                      <a:pt x="389" y="2967"/>
                    </a:lnTo>
                    <a:lnTo>
                      <a:pt x="391" y="2958"/>
                    </a:lnTo>
                    <a:lnTo>
                      <a:pt x="394" y="2949"/>
                    </a:lnTo>
                    <a:lnTo>
                      <a:pt x="398" y="2941"/>
                    </a:lnTo>
                    <a:lnTo>
                      <a:pt x="403" y="2934"/>
                    </a:lnTo>
                    <a:lnTo>
                      <a:pt x="408" y="2926"/>
                    </a:lnTo>
                    <a:lnTo>
                      <a:pt x="415" y="2919"/>
                    </a:lnTo>
                    <a:lnTo>
                      <a:pt x="421" y="2914"/>
                    </a:lnTo>
                    <a:lnTo>
                      <a:pt x="428" y="2908"/>
                    </a:lnTo>
                    <a:lnTo>
                      <a:pt x="436" y="2904"/>
                    </a:lnTo>
                    <a:lnTo>
                      <a:pt x="445" y="2899"/>
                    </a:lnTo>
                    <a:lnTo>
                      <a:pt x="454" y="2896"/>
                    </a:lnTo>
                    <a:lnTo>
                      <a:pt x="463" y="2894"/>
                    </a:lnTo>
                    <a:lnTo>
                      <a:pt x="472" y="2892"/>
                    </a:lnTo>
                    <a:lnTo>
                      <a:pt x="482" y="2891"/>
                    </a:lnTo>
                    <a:lnTo>
                      <a:pt x="492" y="2892"/>
                    </a:lnTo>
                    <a:lnTo>
                      <a:pt x="500" y="2894"/>
                    </a:lnTo>
                    <a:lnTo>
                      <a:pt x="509" y="2896"/>
                    </a:lnTo>
                    <a:lnTo>
                      <a:pt x="518" y="2899"/>
                    </a:lnTo>
                    <a:lnTo>
                      <a:pt x="526" y="2904"/>
                    </a:lnTo>
                    <a:lnTo>
                      <a:pt x="534" y="2908"/>
                    </a:lnTo>
                    <a:lnTo>
                      <a:pt x="542" y="2914"/>
                    </a:lnTo>
                    <a:lnTo>
                      <a:pt x="548" y="2919"/>
                    </a:lnTo>
                    <a:lnTo>
                      <a:pt x="554" y="2926"/>
                    </a:lnTo>
                    <a:lnTo>
                      <a:pt x="559" y="2934"/>
                    </a:lnTo>
                    <a:lnTo>
                      <a:pt x="565" y="2941"/>
                    </a:lnTo>
                    <a:lnTo>
                      <a:pt x="568" y="2949"/>
                    </a:lnTo>
                    <a:lnTo>
                      <a:pt x="572" y="2958"/>
                    </a:lnTo>
                    <a:lnTo>
                      <a:pt x="574" y="2967"/>
                    </a:lnTo>
                    <a:lnTo>
                      <a:pt x="575" y="2977"/>
                    </a:lnTo>
                    <a:lnTo>
                      <a:pt x="576" y="2986"/>
                    </a:lnTo>
                    <a:lnTo>
                      <a:pt x="575" y="2996"/>
                    </a:lnTo>
                    <a:lnTo>
                      <a:pt x="574" y="3005"/>
                    </a:lnTo>
                    <a:lnTo>
                      <a:pt x="572" y="3015"/>
                    </a:lnTo>
                    <a:lnTo>
                      <a:pt x="568" y="3023"/>
                    </a:lnTo>
                    <a:lnTo>
                      <a:pt x="565" y="3032"/>
                    </a:lnTo>
                    <a:lnTo>
                      <a:pt x="559" y="3039"/>
                    </a:lnTo>
                    <a:lnTo>
                      <a:pt x="554" y="3046"/>
                    </a:lnTo>
                    <a:lnTo>
                      <a:pt x="548" y="3053"/>
                    </a:lnTo>
                    <a:lnTo>
                      <a:pt x="542" y="3059"/>
                    </a:lnTo>
                    <a:lnTo>
                      <a:pt x="534" y="3065"/>
                    </a:lnTo>
                    <a:lnTo>
                      <a:pt x="526" y="3069"/>
                    </a:lnTo>
                    <a:lnTo>
                      <a:pt x="518" y="3074"/>
                    </a:lnTo>
                    <a:lnTo>
                      <a:pt x="509" y="3077"/>
                    </a:lnTo>
                    <a:lnTo>
                      <a:pt x="500" y="3079"/>
                    </a:lnTo>
                    <a:lnTo>
                      <a:pt x="492" y="3080"/>
                    </a:lnTo>
                    <a:lnTo>
                      <a:pt x="482" y="3080"/>
                    </a:lnTo>
                    <a:lnTo>
                      <a:pt x="472" y="3080"/>
                    </a:lnTo>
                    <a:lnTo>
                      <a:pt x="463" y="3079"/>
                    </a:lnTo>
                    <a:lnTo>
                      <a:pt x="454" y="3077"/>
                    </a:lnTo>
                    <a:lnTo>
                      <a:pt x="445" y="3074"/>
                    </a:lnTo>
                    <a:lnTo>
                      <a:pt x="436" y="3069"/>
                    </a:lnTo>
                    <a:lnTo>
                      <a:pt x="428" y="3065"/>
                    </a:lnTo>
                    <a:lnTo>
                      <a:pt x="421" y="3059"/>
                    </a:lnTo>
                    <a:lnTo>
                      <a:pt x="415" y="3053"/>
                    </a:lnTo>
                    <a:lnTo>
                      <a:pt x="408" y="3046"/>
                    </a:lnTo>
                    <a:lnTo>
                      <a:pt x="403" y="3039"/>
                    </a:lnTo>
                    <a:lnTo>
                      <a:pt x="398" y="3032"/>
                    </a:lnTo>
                    <a:lnTo>
                      <a:pt x="394" y="3023"/>
                    </a:lnTo>
                    <a:lnTo>
                      <a:pt x="391" y="3015"/>
                    </a:lnTo>
                    <a:lnTo>
                      <a:pt x="389" y="3005"/>
                    </a:lnTo>
                    <a:lnTo>
                      <a:pt x="387" y="2996"/>
                    </a:lnTo>
                    <a:lnTo>
                      <a:pt x="387" y="2986"/>
                    </a:lnTo>
                    <a:close/>
                    <a:moveTo>
                      <a:pt x="387" y="2671"/>
                    </a:moveTo>
                    <a:lnTo>
                      <a:pt x="387" y="2671"/>
                    </a:lnTo>
                    <a:lnTo>
                      <a:pt x="387" y="2661"/>
                    </a:lnTo>
                    <a:lnTo>
                      <a:pt x="389" y="2652"/>
                    </a:lnTo>
                    <a:lnTo>
                      <a:pt x="391" y="2643"/>
                    </a:lnTo>
                    <a:lnTo>
                      <a:pt x="394" y="2634"/>
                    </a:lnTo>
                    <a:lnTo>
                      <a:pt x="398" y="2627"/>
                    </a:lnTo>
                    <a:lnTo>
                      <a:pt x="403" y="2619"/>
                    </a:lnTo>
                    <a:lnTo>
                      <a:pt x="408" y="2611"/>
                    </a:lnTo>
                    <a:lnTo>
                      <a:pt x="415" y="2604"/>
                    </a:lnTo>
                    <a:lnTo>
                      <a:pt x="421" y="2599"/>
                    </a:lnTo>
                    <a:lnTo>
                      <a:pt x="428" y="2593"/>
                    </a:lnTo>
                    <a:lnTo>
                      <a:pt x="436" y="2588"/>
                    </a:lnTo>
                    <a:lnTo>
                      <a:pt x="445" y="2584"/>
                    </a:lnTo>
                    <a:lnTo>
                      <a:pt x="454" y="2581"/>
                    </a:lnTo>
                    <a:lnTo>
                      <a:pt x="463" y="2579"/>
                    </a:lnTo>
                    <a:lnTo>
                      <a:pt x="472" y="2578"/>
                    </a:lnTo>
                    <a:lnTo>
                      <a:pt x="482" y="2577"/>
                    </a:lnTo>
                    <a:lnTo>
                      <a:pt x="492" y="2578"/>
                    </a:lnTo>
                    <a:lnTo>
                      <a:pt x="500" y="2579"/>
                    </a:lnTo>
                    <a:lnTo>
                      <a:pt x="509" y="2581"/>
                    </a:lnTo>
                    <a:lnTo>
                      <a:pt x="518" y="2584"/>
                    </a:lnTo>
                    <a:lnTo>
                      <a:pt x="526" y="2588"/>
                    </a:lnTo>
                    <a:lnTo>
                      <a:pt x="534" y="2593"/>
                    </a:lnTo>
                    <a:lnTo>
                      <a:pt x="542" y="2599"/>
                    </a:lnTo>
                    <a:lnTo>
                      <a:pt x="548" y="2604"/>
                    </a:lnTo>
                    <a:lnTo>
                      <a:pt x="554" y="2611"/>
                    </a:lnTo>
                    <a:lnTo>
                      <a:pt x="559" y="2619"/>
                    </a:lnTo>
                    <a:lnTo>
                      <a:pt x="565" y="2627"/>
                    </a:lnTo>
                    <a:lnTo>
                      <a:pt x="568" y="2634"/>
                    </a:lnTo>
                    <a:lnTo>
                      <a:pt x="572" y="2643"/>
                    </a:lnTo>
                    <a:lnTo>
                      <a:pt x="574" y="2652"/>
                    </a:lnTo>
                    <a:lnTo>
                      <a:pt x="575" y="2661"/>
                    </a:lnTo>
                    <a:lnTo>
                      <a:pt x="576" y="2671"/>
                    </a:lnTo>
                    <a:lnTo>
                      <a:pt x="575" y="2681"/>
                    </a:lnTo>
                    <a:lnTo>
                      <a:pt x="574" y="2690"/>
                    </a:lnTo>
                    <a:lnTo>
                      <a:pt x="572" y="2699"/>
                    </a:lnTo>
                    <a:lnTo>
                      <a:pt x="568" y="2708"/>
                    </a:lnTo>
                    <a:lnTo>
                      <a:pt x="565" y="2717"/>
                    </a:lnTo>
                    <a:lnTo>
                      <a:pt x="559" y="2725"/>
                    </a:lnTo>
                    <a:lnTo>
                      <a:pt x="554" y="2731"/>
                    </a:lnTo>
                    <a:lnTo>
                      <a:pt x="548" y="2738"/>
                    </a:lnTo>
                    <a:lnTo>
                      <a:pt x="542" y="2745"/>
                    </a:lnTo>
                    <a:lnTo>
                      <a:pt x="534" y="2750"/>
                    </a:lnTo>
                    <a:lnTo>
                      <a:pt x="526" y="2755"/>
                    </a:lnTo>
                    <a:lnTo>
                      <a:pt x="518" y="2759"/>
                    </a:lnTo>
                    <a:lnTo>
                      <a:pt x="509" y="2761"/>
                    </a:lnTo>
                    <a:lnTo>
                      <a:pt x="500" y="2763"/>
                    </a:lnTo>
                    <a:lnTo>
                      <a:pt x="492" y="2766"/>
                    </a:lnTo>
                    <a:lnTo>
                      <a:pt x="482" y="2766"/>
                    </a:lnTo>
                    <a:lnTo>
                      <a:pt x="472" y="2766"/>
                    </a:lnTo>
                    <a:lnTo>
                      <a:pt x="463" y="2763"/>
                    </a:lnTo>
                    <a:lnTo>
                      <a:pt x="454" y="2761"/>
                    </a:lnTo>
                    <a:lnTo>
                      <a:pt x="445" y="2759"/>
                    </a:lnTo>
                    <a:lnTo>
                      <a:pt x="436" y="2755"/>
                    </a:lnTo>
                    <a:lnTo>
                      <a:pt x="428" y="2750"/>
                    </a:lnTo>
                    <a:lnTo>
                      <a:pt x="421" y="2745"/>
                    </a:lnTo>
                    <a:lnTo>
                      <a:pt x="415" y="2738"/>
                    </a:lnTo>
                    <a:lnTo>
                      <a:pt x="408" y="2731"/>
                    </a:lnTo>
                    <a:lnTo>
                      <a:pt x="403" y="2725"/>
                    </a:lnTo>
                    <a:lnTo>
                      <a:pt x="398" y="2717"/>
                    </a:lnTo>
                    <a:lnTo>
                      <a:pt x="394" y="2708"/>
                    </a:lnTo>
                    <a:lnTo>
                      <a:pt x="391" y="2699"/>
                    </a:lnTo>
                    <a:lnTo>
                      <a:pt x="389" y="2690"/>
                    </a:lnTo>
                    <a:lnTo>
                      <a:pt x="387" y="2681"/>
                    </a:lnTo>
                    <a:lnTo>
                      <a:pt x="387" y="2671"/>
                    </a:lnTo>
                    <a:close/>
                    <a:moveTo>
                      <a:pt x="387" y="2356"/>
                    </a:moveTo>
                    <a:lnTo>
                      <a:pt x="387" y="2356"/>
                    </a:lnTo>
                    <a:lnTo>
                      <a:pt x="387" y="2346"/>
                    </a:lnTo>
                    <a:lnTo>
                      <a:pt x="389" y="2338"/>
                    </a:lnTo>
                    <a:lnTo>
                      <a:pt x="391" y="2329"/>
                    </a:lnTo>
                    <a:lnTo>
                      <a:pt x="394" y="2320"/>
                    </a:lnTo>
                    <a:lnTo>
                      <a:pt x="398" y="2311"/>
                    </a:lnTo>
                    <a:lnTo>
                      <a:pt x="403" y="2303"/>
                    </a:lnTo>
                    <a:lnTo>
                      <a:pt x="408" y="2296"/>
                    </a:lnTo>
                    <a:lnTo>
                      <a:pt x="415" y="2290"/>
                    </a:lnTo>
                    <a:lnTo>
                      <a:pt x="421" y="2283"/>
                    </a:lnTo>
                    <a:lnTo>
                      <a:pt x="428" y="2278"/>
                    </a:lnTo>
                    <a:lnTo>
                      <a:pt x="436" y="2273"/>
                    </a:lnTo>
                    <a:lnTo>
                      <a:pt x="445" y="2270"/>
                    </a:lnTo>
                    <a:lnTo>
                      <a:pt x="454" y="2266"/>
                    </a:lnTo>
                    <a:lnTo>
                      <a:pt x="463" y="2264"/>
                    </a:lnTo>
                    <a:lnTo>
                      <a:pt x="472" y="2262"/>
                    </a:lnTo>
                    <a:lnTo>
                      <a:pt x="482" y="2262"/>
                    </a:lnTo>
                    <a:lnTo>
                      <a:pt x="492" y="2262"/>
                    </a:lnTo>
                    <a:lnTo>
                      <a:pt x="500" y="2264"/>
                    </a:lnTo>
                    <a:lnTo>
                      <a:pt x="509" y="2266"/>
                    </a:lnTo>
                    <a:lnTo>
                      <a:pt x="518" y="2270"/>
                    </a:lnTo>
                    <a:lnTo>
                      <a:pt x="526" y="2273"/>
                    </a:lnTo>
                    <a:lnTo>
                      <a:pt x="534" y="2278"/>
                    </a:lnTo>
                    <a:lnTo>
                      <a:pt x="542" y="2283"/>
                    </a:lnTo>
                    <a:lnTo>
                      <a:pt x="548" y="2290"/>
                    </a:lnTo>
                    <a:lnTo>
                      <a:pt x="554" y="2296"/>
                    </a:lnTo>
                    <a:lnTo>
                      <a:pt x="559" y="2303"/>
                    </a:lnTo>
                    <a:lnTo>
                      <a:pt x="565" y="2311"/>
                    </a:lnTo>
                    <a:lnTo>
                      <a:pt x="568" y="2320"/>
                    </a:lnTo>
                    <a:lnTo>
                      <a:pt x="572" y="2329"/>
                    </a:lnTo>
                    <a:lnTo>
                      <a:pt x="574" y="2338"/>
                    </a:lnTo>
                    <a:lnTo>
                      <a:pt x="575" y="2346"/>
                    </a:lnTo>
                    <a:lnTo>
                      <a:pt x="576" y="2356"/>
                    </a:lnTo>
                    <a:lnTo>
                      <a:pt x="575" y="2366"/>
                    </a:lnTo>
                    <a:lnTo>
                      <a:pt x="574" y="2375"/>
                    </a:lnTo>
                    <a:lnTo>
                      <a:pt x="572" y="2384"/>
                    </a:lnTo>
                    <a:lnTo>
                      <a:pt x="568" y="2393"/>
                    </a:lnTo>
                    <a:lnTo>
                      <a:pt x="565" y="2402"/>
                    </a:lnTo>
                    <a:lnTo>
                      <a:pt x="559" y="2410"/>
                    </a:lnTo>
                    <a:lnTo>
                      <a:pt x="554" y="2417"/>
                    </a:lnTo>
                    <a:lnTo>
                      <a:pt x="548" y="2423"/>
                    </a:lnTo>
                    <a:lnTo>
                      <a:pt x="542" y="2430"/>
                    </a:lnTo>
                    <a:lnTo>
                      <a:pt x="534" y="2435"/>
                    </a:lnTo>
                    <a:lnTo>
                      <a:pt x="526" y="2440"/>
                    </a:lnTo>
                    <a:lnTo>
                      <a:pt x="518" y="2443"/>
                    </a:lnTo>
                    <a:lnTo>
                      <a:pt x="509" y="2447"/>
                    </a:lnTo>
                    <a:lnTo>
                      <a:pt x="500" y="2449"/>
                    </a:lnTo>
                    <a:lnTo>
                      <a:pt x="492" y="2451"/>
                    </a:lnTo>
                    <a:lnTo>
                      <a:pt x="482" y="2451"/>
                    </a:lnTo>
                    <a:lnTo>
                      <a:pt x="472" y="2451"/>
                    </a:lnTo>
                    <a:lnTo>
                      <a:pt x="463" y="2449"/>
                    </a:lnTo>
                    <a:lnTo>
                      <a:pt x="454" y="2447"/>
                    </a:lnTo>
                    <a:lnTo>
                      <a:pt x="445" y="2443"/>
                    </a:lnTo>
                    <a:lnTo>
                      <a:pt x="436" y="2440"/>
                    </a:lnTo>
                    <a:lnTo>
                      <a:pt x="428" y="2435"/>
                    </a:lnTo>
                    <a:lnTo>
                      <a:pt x="421" y="2430"/>
                    </a:lnTo>
                    <a:lnTo>
                      <a:pt x="415" y="2423"/>
                    </a:lnTo>
                    <a:lnTo>
                      <a:pt x="408" y="2417"/>
                    </a:lnTo>
                    <a:lnTo>
                      <a:pt x="403" y="2410"/>
                    </a:lnTo>
                    <a:lnTo>
                      <a:pt x="398" y="2402"/>
                    </a:lnTo>
                    <a:lnTo>
                      <a:pt x="394" y="2393"/>
                    </a:lnTo>
                    <a:lnTo>
                      <a:pt x="391" y="2384"/>
                    </a:lnTo>
                    <a:lnTo>
                      <a:pt x="389" y="2375"/>
                    </a:lnTo>
                    <a:lnTo>
                      <a:pt x="387" y="2366"/>
                    </a:lnTo>
                    <a:lnTo>
                      <a:pt x="387" y="2356"/>
                    </a:lnTo>
                    <a:close/>
                    <a:moveTo>
                      <a:pt x="387" y="2042"/>
                    </a:moveTo>
                    <a:lnTo>
                      <a:pt x="387" y="2042"/>
                    </a:lnTo>
                    <a:lnTo>
                      <a:pt x="387" y="2032"/>
                    </a:lnTo>
                    <a:lnTo>
                      <a:pt x="389" y="2023"/>
                    </a:lnTo>
                    <a:lnTo>
                      <a:pt x="391" y="2014"/>
                    </a:lnTo>
                    <a:lnTo>
                      <a:pt x="394" y="2005"/>
                    </a:lnTo>
                    <a:lnTo>
                      <a:pt x="398" y="1996"/>
                    </a:lnTo>
                    <a:lnTo>
                      <a:pt x="403" y="1988"/>
                    </a:lnTo>
                    <a:lnTo>
                      <a:pt x="408" y="1982"/>
                    </a:lnTo>
                    <a:lnTo>
                      <a:pt x="415" y="1975"/>
                    </a:lnTo>
                    <a:lnTo>
                      <a:pt x="421" y="1968"/>
                    </a:lnTo>
                    <a:lnTo>
                      <a:pt x="428" y="1963"/>
                    </a:lnTo>
                    <a:lnTo>
                      <a:pt x="436" y="1958"/>
                    </a:lnTo>
                    <a:lnTo>
                      <a:pt x="445" y="1955"/>
                    </a:lnTo>
                    <a:lnTo>
                      <a:pt x="454" y="1952"/>
                    </a:lnTo>
                    <a:lnTo>
                      <a:pt x="463" y="1949"/>
                    </a:lnTo>
                    <a:lnTo>
                      <a:pt x="472" y="1947"/>
                    </a:lnTo>
                    <a:lnTo>
                      <a:pt x="482" y="1947"/>
                    </a:lnTo>
                    <a:lnTo>
                      <a:pt x="492" y="1947"/>
                    </a:lnTo>
                    <a:lnTo>
                      <a:pt x="500" y="1949"/>
                    </a:lnTo>
                    <a:lnTo>
                      <a:pt x="509" y="1952"/>
                    </a:lnTo>
                    <a:lnTo>
                      <a:pt x="518" y="1955"/>
                    </a:lnTo>
                    <a:lnTo>
                      <a:pt x="526" y="1958"/>
                    </a:lnTo>
                    <a:lnTo>
                      <a:pt x="534" y="1963"/>
                    </a:lnTo>
                    <a:lnTo>
                      <a:pt x="542" y="1968"/>
                    </a:lnTo>
                    <a:lnTo>
                      <a:pt x="548" y="1975"/>
                    </a:lnTo>
                    <a:lnTo>
                      <a:pt x="554" y="1982"/>
                    </a:lnTo>
                    <a:lnTo>
                      <a:pt x="559" y="1988"/>
                    </a:lnTo>
                    <a:lnTo>
                      <a:pt x="565" y="1996"/>
                    </a:lnTo>
                    <a:lnTo>
                      <a:pt x="568" y="2005"/>
                    </a:lnTo>
                    <a:lnTo>
                      <a:pt x="572" y="2014"/>
                    </a:lnTo>
                    <a:lnTo>
                      <a:pt x="574" y="2023"/>
                    </a:lnTo>
                    <a:lnTo>
                      <a:pt x="575" y="2032"/>
                    </a:lnTo>
                    <a:lnTo>
                      <a:pt x="576" y="2042"/>
                    </a:lnTo>
                    <a:lnTo>
                      <a:pt x="575" y="2052"/>
                    </a:lnTo>
                    <a:lnTo>
                      <a:pt x="574" y="2061"/>
                    </a:lnTo>
                    <a:lnTo>
                      <a:pt x="572" y="2070"/>
                    </a:lnTo>
                    <a:lnTo>
                      <a:pt x="568" y="2078"/>
                    </a:lnTo>
                    <a:lnTo>
                      <a:pt x="565" y="2086"/>
                    </a:lnTo>
                    <a:lnTo>
                      <a:pt x="559" y="2094"/>
                    </a:lnTo>
                    <a:lnTo>
                      <a:pt x="554" y="2102"/>
                    </a:lnTo>
                    <a:lnTo>
                      <a:pt x="548" y="2108"/>
                    </a:lnTo>
                    <a:lnTo>
                      <a:pt x="542" y="2114"/>
                    </a:lnTo>
                    <a:lnTo>
                      <a:pt x="534" y="2120"/>
                    </a:lnTo>
                    <a:lnTo>
                      <a:pt x="526" y="2125"/>
                    </a:lnTo>
                    <a:lnTo>
                      <a:pt x="518" y="2129"/>
                    </a:lnTo>
                    <a:lnTo>
                      <a:pt x="509" y="2132"/>
                    </a:lnTo>
                    <a:lnTo>
                      <a:pt x="500" y="2134"/>
                    </a:lnTo>
                    <a:lnTo>
                      <a:pt x="492" y="2135"/>
                    </a:lnTo>
                    <a:lnTo>
                      <a:pt x="482" y="2136"/>
                    </a:lnTo>
                    <a:lnTo>
                      <a:pt x="472" y="2135"/>
                    </a:lnTo>
                    <a:lnTo>
                      <a:pt x="463" y="2134"/>
                    </a:lnTo>
                    <a:lnTo>
                      <a:pt x="454" y="2132"/>
                    </a:lnTo>
                    <a:lnTo>
                      <a:pt x="445" y="2129"/>
                    </a:lnTo>
                    <a:lnTo>
                      <a:pt x="436" y="2125"/>
                    </a:lnTo>
                    <a:lnTo>
                      <a:pt x="428" y="2120"/>
                    </a:lnTo>
                    <a:lnTo>
                      <a:pt x="421" y="2114"/>
                    </a:lnTo>
                    <a:lnTo>
                      <a:pt x="415" y="2108"/>
                    </a:lnTo>
                    <a:lnTo>
                      <a:pt x="408" y="2102"/>
                    </a:lnTo>
                    <a:lnTo>
                      <a:pt x="403" y="2094"/>
                    </a:lnTo>
                    <a:lnTo>
                      <a:pt x="398" y="2086"/>
                    </a:lnTo>
                    <a:lnTo>
                      <a:pt x="394" y="2078"/>
                    </a:lnTo>
                    <a:lnTo>
                      <a:pt x="391" y="2070"/>
                    </a:lnTo>
                    <a:lnTo>
                      <a:pt x="389" y="2061"/>
                    </a:lnTo>
                    <a:lnTo>
                      <a:pt x="387" y="2052"/>
                    </a:lnTo>
                    <a:lnTo>
                      <a:pt x="387" y="2042"/>
                    </a:lnTo>
                    <a:close/>
                    <a:moveTo>
                      <a:pt x="387" y="1727"/>
                    </a:moveTo>
                    <a:lnTo>
                      <a:pt x="387" y="1727"/>
                    </a:lnTo>
                    <a:lnTo>
                      <a:pt x="387" y="1717"/>
                    </a:lnTo>
                    <a:lnTo>
                      <a:pt x="389" y="1708"/>
                    </a:lnTo>
                    <a:lnTo>
                      <a:pt x="391" y="1698"/>
                    </a:lnTo>
                    <a:lnTo>
                      <a:pt x="394" y="1690"/>
                    </a:lnTo>
                    <a:lnTo>
                      <a:pt x="398" y="1681"/>
                    </a:lnTo>
                    <a:lnTo>
                      <a:pt x="403" y="1674"/>
                    </a:lnTo>
                    <a:lnTo>
                      <a:pt x="408" y="1667"/>
                    </a:lnTo>
                    <a:lnTo>
                      <a:pt x="415" y="1660"/>
                    </a:lnTo>
                    <a:lnTo>
                      <a:pt x="421" y="1654"/>
                    </a:lnTo>
                    <a:lnTo>
                      <a:pt x="428" y="1648"/>
                    </a:lnTo>
                    <a:lnTo>
                      <a:pt x="436" y="1644"/>
                    </a:lnTo>
                    <a:lnTo>
                      <a:pt x="445" y="1639"/>
                    </a:lnTo>
                    <a:lnTo>
                      <a:pt x="454" y="1637"/>
                    </a:lnTo>
                    <a:lnTo>
                      <a:pt x="463" y="1634"/>
                    </a:lnTo>
                    <a:lnTo>
                      <a:pt x="472" y="1633"/>
                    </a:lnTo>
                    <a:lnTo>
                      <a:pt x="482" y="1633"/>
                    </a:lnTo>
                    <a:lnTo>
                      <a:pt x="492" y="1633"/>
                    </a:lnTo>
                    <a:lnTo>
                      <a:pt x="500" y="1634"/>
                    </a:lnTo>
                    <a:lnTo>
                      <a:pt x="509" y="1637"/>
                    </a:lnTo>
                    <a:lnTo>
                      <a:pt x="518" y="1639"/>
                    </a:lnTo>
                    <a:lnTo>
                      <a:pt x="526" y="1644"/>
                    </a:lnTo>
                    <a:lnTo>
                      <a:pt x="534" y="1648"/>
                    </a:lnTo>
                    <a:lnTo>
                      <a:pt x="542" y="1654"/>
                    </a:lnTo>
                    <a:lnTo>
                      <a:pt x="548" y="1660"/>
                    </a:lnTo>
                    <a:lnTo>
                      <a:pt x="554" y="1667"/>
                    </a:lnTo>
                    <a:lnTo>
                      <a:pt x="559" y="1674"/>
                    </a:lnTo>
                    <a:lnTo>
                      <a:pt x="565" y="1681"/>
                    </a:lnTo>
                    <a:lnTo>
                      <a:pt x="568" y="1690"/>
                    </a:lnTo>
                    <a:lnTo>
                      <a:pt x="572" y="1698"/>
                    </a:lnTo>
                    <a:lnTo>
                      <a:pt x="574" y="1708"/>
                    </a:lnTo>
                    <a:lnTo>
                      <a:pt x="575" y="1717"/>
                    </a:lnTo>
                    <a:lnTo>
                      <a:pt x="576" y="1727"/>
                    </a:lnTo>
                    <a:lnTo>
                      <a:pt x="575" y="1736"/>
                    </a:lnTo>
                    <a:lnTo>
                      <a:pt x="574" y="1746"/>
                    </a:lnTo>
                    <a:lnTo>
                      <a:pt x="572" y="1755"/>
                    </a:lnTo>
                    <a:lnTo>
                      <a:pt x="568" y="1764"/>
                    </a:lnTo>
                    <a:lnTo>
                      <a:pt x="565" y="1772"/>
                    </a:lnTo>
                    <a:lnTo>
                      <a:pt x="559" y="1779"/>
                    </a:lnTo>
                    <a:lnTo>
                      <a:pt x="554" y="1787"/>
                    </a:lnTo>
                    <a:lnTo>
                      <a:pt x="548" y="1794"/>
                    </a:lnTo>
                    <a:lnTo>
                      <a:pt x="542" y="1799"/>
                    </a:lnTo>
                    <a:lnTo>
                      <a:pt x="534" y="1805"/>
                    </a:lnTo>
                    <a:lnTo>
                      <a:pt x="526" y="1809"/>
                    </a:lnTo>
                    <a:lnTo>
                      <a:pt x="518" y="1814"/>
                    </a:lnTo>
                    <a:lnTo>
                      <a:pt x="509" y="1817"/>
                    </a:lnTo>
                    <a:lnTo>
                      <a:pt x="500" y="1819"/>
                    </a:lnTo>
                    <a:lnTo>
                      <a:pt x="492" y="1820"/>
                    </a:lnTo>
                    <a:lnTo>
                      <a:pt x="482" y="1822"/>
                    </a:lnTo>
                    <a:lnTo>
                      <a:pt x="472" y="1820"/>
                    </a:lnTo>
                    <a:lnTo>
                      <a:pt x="463" y="1819"/>
                    </a:lnTo>
                    <a:lnTo>
                      <a:pt x="454" y="1817"/>
                    </a:lnTo>
                    <a:lnTo>
                      <a:pt x="445" y="1814"/>
                    </a:lnTo>
                    <a:lnTo>
                      <a:pt x="436" y="1809"/>
                    </a:lnTo>
                    <a:lnTo>
                      <a:pt x="428" y="1805"/>
                    </a:lnTo>
                    <a:lnTo>
                      <a:pt x="421" y="1799"/>
                    </a:lnTo>
                    <a:lnTo>
                      <a:pt x="415" y="1794"/>
                    </a:lnTo>
                    <a:lnTo>
                      <a:pt x="408" y="1787"/>
                    </a:lnTo>
                    <a:lnTo>
                      <a:pt x="403" y="1779"/>
                    </a:lnTo>
                    <a:lnTo>
                      <a:pt x="398" y="1772"/>
                    </a:lnTo>
                    <a:lnTo>
                      <a:pt x="394" y="1764"/>
                    </a:lnTo>
                    <a:lnTo>
                      <a:pt x="391" y="1755"/>
                    </a:lnTo>
                    <a:lnTo>
                      <a:pt x="389" y="1746"/>
                    </a:lnTo>
                    <a:lnTo>
                      <a:pt x="387" y="1736"/>
                    </a:lnTo>
                    <a:lnTo>
                      <a:pt x="387" y="1727"/>
                    </a:lnTo>
                    <a:close/>
                    <a:moveTo>
                      <a:pt x="387" y="1412"/>
                    </a:moveTo>
                    <a:lnTo>
                      <a:pt x="387" y="1412"/>
                    </a:lnTo>
                    <a:lnTo>
                      <a:pt x="387" y="1402"/>
                    </a:lnTo>
                    <a:lnTo>
                      <a:pt x="389" y="1392"/>
                    </a:lnTo>
                    <a:lnTo>
                      <a:pt x="391" y="1383"/>
                    </a:lnTo>
                    <a:lnTo>
                      <a:pt x="394" y="1375"/>
                    </a:lnTo>
                    <a:lnTo>
                      <a:pt x="398" y="1367"/>
                    </a:lnTo>
                    <a:lnTo>
                      <a:pt x="403" y="1359"/>
                    </a:lnTo>
                    <a:lnTo>
                      <a:pt x="408" y="1351"/>
                    </a:lnTo>
                    <a:lnTo>
                      <a:pt x="415" y="1344"/>
                    </a:lnTo>
                    <a:lnTo>
                      <a:pt x="421" y="1339"/>
                    </a:lnTo>
                    <a:lnTo>
                      <a:pt x="428" y="1333"/>
                    </a:lnTo>
                    <a:lnTo>
                      <a:pt x="436" y="1329"/>
                    </a:lnTo>
                    <a:lnTo>
                      <a:pt x="445" y="1324"/>
                    </a:lnTo>
                    <a:lnTo>
                      <a:pt x="454" y="1321"/>
                    </a:lnTo>
                    <a:lnTo>
                      <a:pt x="463" y="1319"/>
                    </a:lnTo>
                    <a:lnTo>
                      <a:pt x="472" y="1318"/>
                    </a:lnTo>
                    <a:lnTo>
                      <a:pt x="482" y="1318"/>
                    </a:lnTo>
                    <a:lnTo>
                      <a:pt x="492" y="1318"/>
                    </a:lnTo>
                    <a:lnTo>
                      <a:pt x="500" y="1319"/>
                    </a:lnTo>
                    <a:lnTo>
                      <a:pt x="509" y="1321"/>
                    </a:lnTo>
                    <a:lnTo>
                      <a:pt x="518" y="1324"/>
                    </a:lnTo>
                    <a:lnTo>
                      <a:pt x="526" y="1329"/>
                    </a:lnTo>
                    <a:lnTo>
                      <a:pt x="534" y="1333"/>
                    </a:lnTo>
                    <a:lnTo>
                      <a:pt x="542" y="1339"/>
                    </a:lnTo>
                    <a:lnTo>
                      <a:pt x="548" y="1344"/>
                    </a:lnTo>
                    <a:lnTo>
                      <a:pt x="554" y="1351"/>
                    </a:lnTo>
                    <a:lnTo>
                      <a:pt x="559" y="1359"/>
                    </a:lnTo>
                    <a:lnTo>
                      <a:pt x="565" y="1367"/>
                    </a:lnTo>
                    <a:lnTo>
                      <a:pt x="568" y="1375"/>
                    </a:lnTo>
                    <a:lnTo>
                      <a:pt x="572" y="1383"/>
                    </a:lnTo>
                    <a:lnTo>
                      <a:pt x="574" y="1392"/>
                    </a:lnTo>
                    <a:lnTo>
                      <a:pt x="575" y="1402"/>
                    </a:lnTo>
                    <a:lnTo>
                      <a:pt x="576" y="1412"/>
                    </a:lnTo>
                    <a:lnTo>
                      <a:pt x="575" y="1421"/>
                    </a:lnTo>
                    <a:lnTo>
                      <a:pt x="574" y="1431"/>
                    </a:lnTo>
                    <a:lnTo>
                      <a:pt x="572" y="1440"/>
                    </a:lnTo>
                    <a:lnTo>
                      <a:pt x="568" y="1449"/>
                    </a:lnTo>
                    <a:lnTo>
                      <a:pt x="565" y="1457"/>
                    </a:lnTo>
                    <a:lnTo>
                      <a:pt x="559" y="1465"/>
                    </a:lnTo>
                    <a:lnTo>
                      <a:pt x="554" y="1472"/>
                    </a:lnTo>
                    <a:lnTo>
                      <a:pt x="548" y="1479"/>
                    </a:lnTo>
                    <a:lnTo>
                      <a:pt x="542" y="1485"/>
                    </a:lnTo>
                    <a:lnTo>
                      <a:pt x="534" y="1490"/>
                    </a:lnTo>
                    <a:lnTo>
                      <a:pt x="526" y="1495"/>
                    </a:lnTo>
                    <a:lnTo>
                      <a:pt x="518" y="1499"/>
                    </a:lnTo>
                    <a:lnTo>
                      <a:pt x="509" y="1502"/>
                    </a:lnTo>
                    <a:lnTo>
                      <a:pt x="500" y="1505"/>
                    </a:lnTo>
                    <a:lnTo>
                      <a:pt x="492" y="1506"/>
                    </a:lnTo>
                    <a:lnTo>
                      <a:pt x="482" y="1507"/>
                    </a:lnTo>
                    <a:lnTo>
                      <a:pt x="472" y="1506"/>
                    </a:lnTo>
                    <a:lnTo>
                      <a:pt x="463" y="1505"/>
                    </a:lnTo>
                    <a:lnTo>
                      <a:pt x="454" y="1502"/>
                    </a:lnTo>
                    <a:lnTo>
                      <a:pt x="445" y="1499"/>
                    </a:lnTo>
                    <a:lnTo>
                      <a:pt x="436" y="1495"/>
                    </a:lnTo>
                    <a:lnTo>
                      <a:pt x="428" y="1490"/>
                    </a:lnTo>
                    <a:lnTo>
                      <a:pt x="421" y="1485"/>
                    </a:lnTo>
                    <a:lnTo>
                      <a:pt x="415" y="1479"/>
                    </a:lnTo>
                    <a:lnTo>
                      <a:pt x="408" y="1472"/>
                    </a:lnTo>
                    <a:lnTo>
                      <a:pt x="403" y="1465"/>
                    </a:lnTo>
                    <a:lnTo>
                      <a:pt x="398" y="1457"/>
                    </a:lnTo>
                    <a:lnTo>
                      <a:pt x="394" y="1449"/>
                    </a:lnTo>
                    <a:lnTo>
                      <a:pt x="391" y="1440"/>
                    </a:lnTo>
                    <a:lnTo>
                      <a:pt x="389" y="1431"/>
                    </a:lnTo>
                    <a:lnTo>
                      <a:pt x="387" y="1421"/>
                    </a:lnTo>
                    <a:lnTo>
                      <a:pt x="387" y="1412"/>
                    </a:lnTo>
                    <a:close/>
                    <a:moveTo>
                      <a:pt x="387" y="1097"/>
                    </a:moveTo>
                    <a:lnTo>
                      <a:pt x="387" y="1097"/>
                    </a:lnTo>
                    <a:lnTo>
                      <a:pt x="387" y="1088"/>
                    </a:lnTo>
                    <a:lnTo>
                      <a:pt x="389" y="1078"/>
                    </a:lnTo>
                    <a:lnTo>
                      <a:pt x="391" y="1069"/>
                    </a:lnTo>
                    <a:lnTo>
                      <a:pt x="394" y="1060"/>
                    </a:lnTo>
                    <a:lnTo>
                      <a:pt x="398" y="1052"/>
                    </a:lnTo>
                    <a:lnTo>
                      <a:pt x="403" y="1044"/>
                    </a:lnTo>
                    <a:lnTo>
                      <a:pt x="408" y="1036"/>
                    </a:lnTo>
                    <a:lnTo>
                      <a:pt x="415" y="1030"/>
                    </a:lnTo>
                    <a:lnTo>
                      <a:pt x="421" y="1024"/>
                    </a:lnTo>
                    <a:lnTo>
                      <a:pt x="428" y="1019"/>
                    </a:lnTo>
                    <a:lnTo>
                      <a:pt x="436" y="1014"/>
                    </a:lnTo>
                    <a:lnTo>
                      <a:pt x="445" y="1010"/>
                    </a:lnTo>
                    <a:lnTo>
                      <a:pt x="454" y="1006"/>
                    </a:lnTo>
                    <a:lnTo>
                      <a:pt x="463" y="1004"/>
                    </a:lnTo>
                    <a:lnTo>
                      <a:pt x="472" y="1003"/>
                    </a:lnTo>
                    <a:lnTo>
                      <a:pt x="482" y="1002"/>
                    </a:lnTo>
                    <a:lnTo>
                      <a:pt x="492" y="1003"/>
                    </a:lnTo>
                    <a:lnTo>
                      <a:pt x="500" y="1004"/>
                    </a:lnTo>
                    <a:lnTo>
                      <a:pt x="509" y="1006"/>
                    </a:lnTo>
                    <a:lnTo>
                      <a:pt x="518" y="1010"/>
                    </a:lnTo>
                    <a:lnTo>
                      <a:pt x="526" y="1014"/>
                    </a:lnTo>
                    <a:lnTo>
                      <a:pt x="534" y="1019"/>
                    </a:lnTo>
                    <a:lnTo>
                      <a:pt x="542" y="1024"/>
                    </a:lnTo>
                    <a:lnTo>
                      <a:pt x="548" y="1030"/>
                    </a:lnTo>
                    <a:lnTo>
                      <a:pt x="554" y="1036"/>
                    </a:lnTo>
                    <a:lnTo>
                      <a:pt x="559" y="1044"/>
                    </a:lnTo>
                    <a:lnTo>
                      <a:pt x="565" y="1052"/>
                    </a:lnTo>
                    <a:lnTo>
                      <a:pt x="568" y="1060"/>
                    </a:lnTo>
                    <a:lnTo>
                      <a:pt x="572" y="1069"/>
                    </a:lnTo>
                    <a:lnTo>
                      <a:pt x="574" y="1078"/>
                    </a:lnTo>
                    <a:lnTo>
                      <a:pt x="575" y="1088"/>
                    </a:lnTo>
                    <a:lnTo>
                      <a:pt x="576" y="1097"/>
                    </a:lnTo>
                    <a:lnTo>
                      <a:pt x="575" y="1107"/>
                    </a:lnTo>
                    <a:lnTo>
                      <a:pt x="574" y="1117"/>
                    </a:lnTo>
                    <a:lnTo>
                      <a:pt x="572" y="1125"/>
                    </a:lnTo>
                    <a:lnTo>
                      <a:pt x="568" y="1134"/>
                    </a:lnTo>
                    <a:lnTo>
                      <a:pt x="565" y="1142"/>
                    </a:lnTo>
                    <a:lnTo>
                      <a:pt x="559" y="1150"/>
                    </a:lnTo>
                    <a:lnTo>
                      <a:pt x="554" y="1158"/>
                    </a:lnTo>
                    <a:lnTo>
                      <a:pt x="548" y="1164"/>
                    </a:lnTo>
                    <a:lnTo>
                      <a:pt x="542" y="1170"/>
                    </a:lnTo>
                    <a:lnTo>
                      <a:pt x="534" y="1175"/>
                    </a:lnTo>
                    <a:lnTo>
                      <a:pt x="526" y="1180"/>
                    </a:lnTo>
                    <a:lnTo>
                      <a:pt x="518" y="1184"/>
                    </a:lnTo>
                    <a:lnTo>
                      <a:pt x="509" y="1188"/>
                    </a:lnTo>
                    <a:lnTo>
                      <a:pt x="500" y="1190"/>
                    </a:lnTo>
                    <a:lnTo>
                      <a:pt x="492" y="1191"/>
                    </a:lnTo>
                    <a:lnTo>
                      <a:pt x="482" y="1191"/>
                    </a:lnTo>
                    <a:lnTo>
                      <a:pt x="472" y="1191"/>
                    </a:lnTo>
                    <a:lnTo>
                      <a:pt x="463" y="1190"/>
                    </a:lnTo>
                    <a:lnTo>
                      <a:pt x="454" y="1188"/>
                    </a:lnTo>
                    <a:lnTo>
                      <a:pt x="445" y="1184"/>
                    </a:lnTo>
                    <a:lnTo>
                      <a:pt x="436" y="1180"/>
                    </a:lnTo>
                    <a:lnTo>
                      <a:pt x="428" y="1175"/>
                    </a:lnTo>
                    <a:lnTo>
                      <a:pt x="421" y="1170"/>
                    </a:lnTo>
                    <a:lnTo>
                      <a:pt x="415" y="1164"/>
                    </a:lnTo>
                    <a:lnTo>
                      <a:pt x="408" y="1158"/>
                    </a:lnTo>
                    <a:lnTo>
                      <a:pt x="403" y="1150"/>
                    </a:lnTo>
                    <a:lnTo>
                      <a:pt x="398" y="1142"/>
                    </a:lnTo>
                    <a:lnTo>
                      <a:pt x="394" y="1134"/>
                    </a:lnTo>
                    <a:lnTo>
                      <a:pt x="391" y="1125"/>
                    </a:lnTo>
                    <a:lnTo>
                      <a:pt x="389" y="1117"/>
                    </a:lnTo>
                    <a:lnTo>
                      <a:pt x="387" y="1107"/>
                    </a:lnTo>
                    <a:lnTo>
                      <a:pt x="387" y="1097"/>
                    </a:lnTo>
                    <a:close/>
                    <a:moveTo>
                      <a:pt x="387" y="782"/>
                    </a:moveTo>
                    <a:lnTo>
                      <a:pt x="387" y="782"/>
                    </a:lnTo>
                    <a:lnTo>
                      <a:pt x="387" y="773"/>
                    </a:lnTo>
                    <a:lnTo>
                      <a:pt x="389" y="763"/>
                    </a:lnTo>
                    <a:lnTo>
                      <a:pt x="391" y="754"/>
                    </a:lnTo>
                    <a:lnTo>
                      <a:pt x="394" y="745"/>
                    </a:lnTo>
                    <a:lnTo>
                      <a:pt x="398" y="737"/>
                    </a:lnTo>
                    <a:lnTo>
                      <a:pt x="403" y="730"/>
                    </a:lnTo>
                    <a:lnTo>
                      <a:pt x="408" y="722"/>
                    </a:lnTo>
                    <a:lnTo>
                      <a:pt x="415" y="715"/>
                    </a:lnTo>
                    <a:lnTo>
                      <a:pt x="421" y="710"/>
                    </a:lnTo>
                    <a:lnTo>
                      <a:pt x="428" y="704"/>
                    </a:lnTo>
                    <a:lnTo>
                      <a:pt x="436" y="699"/>
                    </a:lnTo>
                    <a:lnTo>
                      <a:pt x="445" y="695"/>
                    </a:lnTo>
                    <a:lnTo>
                      <a:pt x="454" y="692"/>
                    </a:lnTo>
                    <a:lnTo>
                      <a:pt x="463" y="689"/>
                    </a:lnTo>
                    <a:lnTo>
                      <a:pt x="472" y="688"/>
                    </a:lnTo>
                    <a:lnTo>
                      <a:pt x="482" y="687"/>
                    </a:lnTo>
                    <a:lnTo>
                      <a:pt x="492" y="688"/>
                    </a:lnTo>
                    <a:lnTo>
                      <a:pt x="500" y="689"/>
                    </a:lnTo>
                    <a:lnTo>
                      <a:pt x="509" y="692"/>
                    </a:lnTo>
                    <a:lnTo>
                      <a:pt x="518" y="695"/>
                    </a:lnTo>
                    <a:lnTo>
                      <a:pt x="526" y="699"/>
                    </a:lnTo>
                    <a:lnTo>
                      <a:pt x="534" y="704"/>
                    </a:lnTo>
                    <a:lnTo>
                      <a:pt x="542" y="710"/>
                    </a:lnTo>
                    <a:lnTo>
                      <a:pt x="548" y="715"/>
                    </a:lnTo>
                    <a:lnTo>
                      <a:pt x="554" y="722"/>
                    </a:lnTo>
                    <a:lnTo>
                      <a:pt x="559" y="730"/>
                    </a:lnTo>
                    <a:lnTo>
                      <a:pt x="565" y="737"/>
                    </a:lnTo>
                    <a:lnTo>
                      <a:pt x="568" y="745"/>
                    </a:lnTo>
                    <a:lnTo>
                      <a:pt x="572" y="754"/>
                    </a:lnTo>
                    <a:lnTo>
                      <a:pt x="574" y="763"/>
                    </a:lnTo>
                    <a:lnTo>
                      <a:pt x="575" y="773"/>
                    </a:lnTo>
                    <a:lnTo>
                      <a:pt x="576" y="782"/>
                    </a:lnTo>
                    <a:lnTo>
                      <a:pt x="575" y="792"/>
                    </a:lnTo>
                    <a:lnTo>
                      <a:pt x="574" y="801"/>
                    </a:lnTo>
                    <a:lnTo>
                      <a:pt x="572" y="811"/>
                    </a:lnTo>
                    <a:lnTo>
                      <a:pt x="568" y="818"/>
                    </a:lnTo>
                    <a:lnTo>
                      <a:pt x="565" y="827"/>
                    </a:lnTo>
                    <a:lnTo>
                      <a:pt x="559" y="835"/>
                    </a:lnTo>
                    <a:lnTo>
                      <a:pt x="554" y="842"/>
                    </a:lnTo>
                    <a:lnTo>
                      <a:pt x="548" y="849"/>
                    </a:lnTo>
                    <a:lnTo>
                      <a:pt x="542" y="855"/>
                    </a:lnTo>
                    <a:lnTo>
                      <a:pt x="534" y="861"/>
                    </a:lnTo>
                    <a:lnTo>
                      <a:pt x="526" y="865"/>
                    </a:lnTo>
                    <a:lnTo>
                      <a:pt x="518" y="870"/>
                    </a:lnTo>
                    <a:lnTo>
                      <a:pt x="509" y="872"/>
                    </a:lnTo>
                    <a:lnTo>
                      <a:pt x="500" y="875"/>
                    </a:lnTo>
                    <a:lnTo>
                      <a:pt x="492" y="876"/>
                    </a:lnTo>
                    <a:lnTo>
                      <a:pt x="482" y="876"/>
                    </a:lnTo>
                    <a:lnTo>
                      <a:pt x="472" y="876"/>
                    </a:lnTo>
                    <a:lnTo>
                      <a:pt x="463" y="875"/>
                    </a:lnTo>
                    <a:lnTo>
                      <a:pt x="454" y="872"/>
                    </a:lnTo>
                    <a:lnTo>
                      <a:pt x="445" y="870"/>
                    </a:lnTo>
                    <a:lnTo>
                      <a:pt x="436" y="865"/>
                    </a:lnTo>
                    <a:lnTo>
                      <a:pt x="428" y="861"/>
                    </a:lnTo>
                    <a:lnTo>
                      <a:pt x="421" y="855"/>
                    </a:lnTo>
                    <a:lnTo>
                      <a:pt x="415" y="849"/>
                    </a:lnTo>
                    <a:lnTo>
                      <a:pt x="408" y="842"/>
                    </a:lnTo>
                    <a:lnTo>
                      <a:pt x="403" y="835"/>
                    </a:lnTo>
                    <a:lnTo>
                      <a:pt x="398" y="827"/>
                    </a:lnTo>
                    <a:lnTo>
                      <a:pt x="394" y="818"/>
                    </a:lnTo>
                    <a:lnTo>
                      <a:pt x="391" y="811"/>
                    </a:lnTo>
                    <a:lnTo>
                      <a:pt x="389" y="801"/>
                    </a:lnTo>
                    <a:lnTo>
                      <a:pt x="387" y="792"/>
                    </a:lnTo>
                    <a:lnTo>
                      <a:pt x="387" y="782"/>
                    </a:lnTo>
                    <a:close/>
                    <a:moveTo>
                      <a:pt x="387" y="467"/>
                    </a:moveTo>
                    <a:lnTo>
                      <a:pt x="387" y="467"/>
                    </a:lnTo>
                    <a:lnTo>
                      <a:pt x="387" y="457"/>
                    </a:lnTo>
                    <a:lnTo>
                      <a:pt x="389" y="448"/>
                    </a:lnTo>
                    <a:lnTo>
                      <a:pt x="391" y="439"/>
                    </a:lnTo>
                    <a:lnTo>
                      <a:pt x="394" y="430"/>
                    </a:lnTo>
                    <a:lnTo>
                      <a:pt x="398" y="423"/>
                    </a:lnTo>
                    <a:lnTo>
                      <a:pt x="403" y="415"/>
                    </a:lnTo>
                    <a:lnTo>
                      <a:pt x="408" y="407"/>
                    </a:lnTo>
                    <a:lnTo>
                      <a:pt x="415" y="400"/>
                    </a:lnTo>
                    <a:lnTo>
                      <a:pt x="421" y="395"/>
                    </a:lnTo>
                    <a:lnTo>
                      <a:pt x="428" y="389"/>
                    </a:lnTo>
                    <a:lnTo>
                      <a:pt x="436" y="384"/>
                    </a:lnTo>
                    <a:lnTo>
                      <a:pt x="445" y="380"/>
                    </a:lnTo>
                    <a:lnTo>
                      <a:pt x="454" y="377"/>
                    </a:lnTo>
                    <a:lnTo>
                      <a:pt x="463" y="375"/>
                    </a:lnTo>
                    <a:lnTo>
                      <a:pt x="472" y="374"/>
                    </a:lnTo>
                    <a:lnTo>
                      <a:pt x="482" y="373"/>
                    </a:lnTo>
                    <a:lnTo>
                      <a:pt x="492" y="374"/>
                    </a:lnTo>
                    <a:lnTo>
                      <a:pt x="500" y="375"/>
                    </a:lnTo>
                    <a:lnTo>
                      <a:pt x="509" y="377"/>
                    </a:lnTo>
                    <a:lnTo>
                      <a:pt x="518" y="380"/>
                    </a:lnTo>
                    <a:lnTo>
                      <a:pt x="526" y="384"/>
                    </a:lnTo>
                    <a:lnTo>
                      <a:pt x="534" y="389"/>
                    </a:lnTo>
                    <a:lnTo>
                      <a:pt x="542" y="395"/>
                    </a:lnTo>
                    <a:lnTo>
                      <a:pt x="548" y="400"/>
                    </a:lnTo>
                    <a:lnTo>
                      <a:pt x="554" y="407"/>
                    </a:lnTo>
                    <a:lnTo>
                      <a:pt x="559" y="415"/>
                    </a:lnTo>
                    <a:lnTo>
                      <a:pt x="565" y="423"/>
                    </a:lnTo>
                    <a:lnTo>
                      <a:pt x="568" y="430"/>
                    </a:lnTo>
                    <a:lnTo>
                      <a:pt x="572" y="439"/>
                    </a:lnTo>
                    <a:lnTo>
                      <a:pt x="574" y="448"/>
                    </a:lnTo>
                    <a:lnTo>
                      <a:pt x="575" y="457"/>
                    </a:lnTo>
                    <a:lnTo>
                      <a:pt x="576" y="467"/>
                    </a:lnTo>
                    <a:lnTo>
                      <a:pt x="575" y="477"/>
                    </a:lnTo>
                    <a:lnTo>
                      <a:pt x="574" y="486"/>
                    </a:lnTo>
                    <a:lnTo>
                      <a:pt x="572" y="495"/>
                    </a:lnTo>
                    <a:lnTo>
                      <a:pt x="568" y="504"/>
                    </a:lnTo>
                    <a:lnTo>
                      <a:pt x="565" y="513"/>
                    </a:lnTo>
                    <a:lnTo>
                      <a:pt x="559" y="520"/>
                    </a:lnTo>
                    <a:lnTo>
                      <a:pt x="554" y="527"/>
                    </a:lnTo>
                    <a:lnTo>
                      <a:pt x="548" y="534"/>
                    </a:lnTo>
                    <a:lnTo>
                      <a:pt x="542" y="540"/>
                    </a:lnTo>
                    <a:lnTo>
                      <a:pt x="534" y="546"/>
                    </a:lnTo>
                    <a:lnTo>
                      <a:pt x="526" y="550"/>
                    </a:lnTo>
                    <a:lnTo>
                      <a:pt x="518" y="554"/>
                    </a:lnTo>
                    <a:lnTo>
                      <a:pt x="509" y="557"/>
                    </a:lnTo>
                    <a:lnTo>
                      <a:pt x="500" y="559"/>
                    </a:lnTo>
                    <a:lnTo>
                      <a:pt x="492" y="562"/>
                    </a:lnTo>
                    <a:lnTo>
                      <a:pt x="482" y="562"/>
                    </a:lnTo>
                    <a:lnTo>
                      <a:pt x="472" y="562"/>
                    </a:lnTo>
                    <a:lnTo>
                      <a:pt x="463" y="559"/>
                    </a:lnTo>
                    <a:lnTo>
                      <a:pt x="454" y="557"/>
                    </a:lnTo>
                    <a:lnTo>
                      <a:pt x="445" y="554"/>
                    </a:lnTo>
                    <a:lnTo>
                      <a:pt x="436" y="550"/>
                    </a:lnTo>
                    <a:lnTo>
                      <a:pt x="428" y="546"/>
                    </a:lnTo>
                    <a:lnTo>
                      <a:pt x="421" y="540"/>
                    </a:lnTo>
                    <a:lnTo>
                      <a:pt x="415" y="534"/>
                    </a:lnTo>
                    <a:lnTo>
                      <a:pt x="408" y="527"/>
                    </a:lnTo>
                    <a:lnTo>
                      <a:pt x="403" y="520"/>
                    </a:lnTo>
                    <a:lnTo>
                      <a:pt x="398" y="513"/>
                    </a:lnTo>
                    <a:lnTo>
                      <a:pt x="394" y="504"/>
                    </a:lnTo>
                    <a:lnTo>
                      <a:pt x="391" y="495"/>
                    </a:lnTo>
                    <a:lnTo>
                      <a:pt x="389" y="486"/>
                    </a:lnTo>
                    <a:lnTo>
                      <a:pt x="387" y="477"/>
                    </a:lnTo>
                    <a:lnTo>
                      <a:pt x="387" y="467"/>
                    </a:lnTo>
                    <a:close/>
                    <a:moveTo>
                      <a:pt x="1098" y="1419"/>
                    </a:moveTo>
                    <a:lnTo>
                      <a:pt x="2083" y="1419"/>
                    </a:lnTo>
                    <a:lnTo>
                      <a:pt x="2083" y="1508"/>
                    </a:lnTo>
                    <a:lnTo>
                      <a:pt x="1098" y="1508"/>
                    </a:lnTo>
                    <a:lnTo>
                      <a:pt x="1098" y="1419"/>
                    </a:lnTo>
                    <a:close/>
                    <a:moveTo>
                      <a:pt x="864" y="2423"/>
                    </a:moveTo>
                    <a:lnTo>
                      <a:pt x="2317" y="2423"/>
                    </a:lnTo>
                    <a:lnTo>
                      <a:pt x="2317" y="2512"/>
                    </a:lnTo>
                    <a:lnTo>
                      <a:pt x="864" y="2512"/>
                    </a:lnTo>
                    <a:lnTo>
                      <a:pt x="864" y="2423"/>
                    </a:lnTo>
                    <a:close/>
                    <a:moveTo>
                      <a:pt x="1098" y="2926"/>
                    </a:moveTo>
                    <a:lnTo>
                      <a:pt x="2083" y="2926"/>
                    </a:lnTo>
                    <a:lnTo>
                      <a:pt x="2083" y="3015"/>
                    </a:lnTo>
                    <a:lnTo>
                      <a:pt x="1098" y="3015"/>
                    </a:lnTo>
                    <a:lnTo>
                      <a:pt x="1098" y="2926"/>
                    </a:lnTo>
                    <a:close/>
                    <a:moveTo>
                      <a:pt x="864" y="1921"/>
                    </a:moveTo>
                    <a:lnTo>
                      <a:pt x="2317" y="1921"/>
                    </a:lnTo>
                    <a:lnTo>
                      <a:pt x="2317" y="2010"/>
                    </a:lnTo>
                    <a:lnTo>
                      <a:pt x="864" y="2010"/>
                    </a:lnTo>
                    <a:lnTo>
                      <a:pt x="864" y="1921"/>
                    </a:lnTo>
                    <a:close/>
                    <a:moveTo>
                      <a:pt x="2072" y="3435"/>
                    </a:moveTo>
                    <a:lnTo>
                      <a:pt x="2072" y="3435"/>
                    </a:lnTo>
                    <a:lnTo>
                      <a:pt x="2089" y="3436"/>
                    </a:lnTo>
                    <a:lnTo>
                      <a:pt x="2106" y="3437"/>
                    </a:lnTo>
                    <a:lnTo>
                      <a:pt x="2123" y="3440"/>
                    </a:lnTo>
                    <a:lnTo>
                      <a:pt x="2140" y="3443"/>
                    </a:lnTo>
                    <a:lnTo>
                      <a:pt x="2155" y="3447"/>
                    </a:lnTo>
                    <a:lnTo>
                      <a:pt x="2171" y="3453"/>
                    </a:lnTo>
                    <a:lnTo>
                      <a:pt x="2186" y="3460"/>
                    </a:lnTo>
                    <a:lnTo>
                      <a:pt x="2201" y="3466"/>
                    </a:lnTo>
                    <a:lnTo>
                      <a:pt x="2215" y="3474"/>
                    </a:lnTo>
                    <a:lnTo>
                      <a:pt x="2230" y="3483"/>
                    </a:lnTo>
                    <a:lnTo>
                      <a:pt x="2243" y="3492"/>
                    </a:lnTo>
                    <a:lnTo>
                      <a:pt x="2255" y="3502"/>
                    </a:lnTo>
                    <a:lnTo>
                      <a:pt x="2268" y="3513"/>
                    </a:lnTo>
                    <a:lnTo>
                      <a:pt x="2280" y="3524"/>
                    </a:lnTo>
                    <a:lnTo>
                      <a:pt x="2291" y="3536"/>
                    </a:lnTo>
                    <a:lnTo>
                      <a:pt x="2301" y="3549"/>
                    </a:lnTo>
                    <a:lnTo>
                      <a:pt x="1896" y="3953"/>
                    </a:lnTo>
                    <a:lnTo>
                      <a:pt x="1884" y="3943"/>
                    </a:lnTo>
                    <a:lnTo>
                      <a:pt x="1872" y="3932"/>
                    </a:lnTo>
                    <a:lnTo>
                      <a:pt x="1861" y="3920"/>
                    </a:lnTo>
                    <a:lnTo>
                      <a:pt x="1849" y="3908"/>
                    </a:lnTo>
                    <a:lnTo>
                      <a:pt x="1839" y="3896"/>
                    </a:lnTo>
                    <a:lnTo>
                      <a:pt x="1831" y="3882"/>
                    </a:lnTo>
                    <a:lnTo>
                      <a:pt x="1822" y="3868"/>
                    </a:lnTo>
                    <a:lnTo>
                      <a:pt x="1814" y="3854"/>
                    </a:lnTo>
                    <a:lnTo>
                      <a:pt x="1807" y="3839"/>
                    </a:lnTo>
                    <a:lnTo>
                      <a:pt x="1801" y="3823"/>
                    </a:lnTo>
                    <a:lnTo>
                      <a:pt x="1795" y="3808"/>
                    </a:lnTo>
                    <a:lnTo>
                      <a:pt x="1791" y="3792"/>
                    </a:lnTo>
                    <a:lnTo>
                      <a:pt x="1787" y="3775"/>
                    </a:lnTo>
                    <a:lnTo>
                      <a:pt x="1785" y="3759"/>
                    </a:lnTo>
                    <a:lnTo>
                      <a:pt x="1784" y="3741"/>
                    </a:lnTo>
                    <a:lnTo>
                      <a:pt x="1783" y="3724"/>
                    </a:lnTo>
                    <a:lnTo>
                      <a:pt x="1784" y="3709"/>
                    </a:lnTo>
                    <a:lnTo>
                      <a:pt x="1785" y="3694"/>
                    </a:lnTo>
                    <a:lnTo>
                      <a:pt x="1786" y="3680"/>
                    </a:lnTo>
                    <a:lnTo>
                      <a:pt x="1788" y="3665"/>
                    </a:lnTo>
                    <a:lnTo>
                      <a:pt x="1792" y="3652"/>
                    </a:lnTo>
                    <a:lnTo>
                      <a:pt x="1796" y="3639"/>
                    </a:lnTo>
                    <a:lnTo>
                      <a:pt x="1801" y="3625"/>
                    </a:lnTo>
                    <a:lnTo>
                      <a:pt x="1806" y="3612"/>
                    </a:lnTo>
                    <a:lnTo>
                      <a:pt x="1812" y="3599"/>
                    </a:lnTo>
                    <a:lnTo>
                      <a:pt x="1818" y="3586"/>
                    </a:lnTo>
                    <a:lnTo>
                      <a:pt x="1825" y="3574"/>
                    </a:lnTo>
                    <a:lnTo>
                      <a:pt x="1833" y="3563"/>
                    </a:lnTo>
                    <a:lnTo>
                      <a:pt x="1848" y="3541"/>
                    </a:lnTo>
                    <a:lnTo>
                      <a:pt x="1867" y="3520"/>
                    </a:lnTo>
                    <a:lnTo>
                      <a:pt x="1888" y="3502"/>
                    </a:lnTo>
                    <a:lnTo>
                      <a:pt x="1911" y="3485"/>
                    </a:lnTo>
                    <a:lnTo>
                      <a:pt x="1922" y="3477"/>
                    </a:lnTo>
                    <a:lnTo>
                      <a:pt x="1934" y="3471"/>
                    </a:lnTo>
                    <a:lnTo>
                      <a:pt x="1946" y="3464"/>
                    </a:lnTo>
                    <a:lnTo>
                      <a:pt x="1960" y="3459"/>
                    </a:lnTo>
                    <a:lnTo>
                      <a:pt x="1973" y="3453"/>
                    </a:lnTo>
                    <a:lnTo>
                      <a:pt x="1986" y="3449"/>
                    </a:lnTo>
                    <a:lnTo>
                      <a:pt x="2000" y="3444"/>
                    </a:lnTo>
                    <a:lnTo>
                      <a:pt x="2013" y="3442"/>
                    </a:lnTo>
                    <a:lnTo>
                      <a:pt x="2027" y="3439"/>
                    </a:lnTo>
                    <a:lnTo>
                      <a:pt x="2042" y="3437"/>
                    </a:lnTo>
                    <a:lnTo>
                      <a:pt x="2056" y="3436"/>
                    </a:lnTo>
                    <a:lnTo>
                      <a:pt x="2072" y="3435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sz="1100" dirty="0">
                  <a:solidFill>
                    <a:schemeClr val="tx1">
                      <a:lumMod val="75000"/>
                      <a:lumOff val="25000"/>
                    </a:schemeClr>
                  </a:solidFill>
                </a:endParaRPr>
              </a:p>
            </p:txBody>
          </p:sp>
        </p:grpSp>
      </p:grpSp>
      <p:grpSp>
        <p:nvGrpSpPr>
          <p:cNvPr id="54" name="Group 53"/>
          <p:cNvGrpSpPr/>
          <p:nvPr/>
        </p:nvGrpSpPr>
        <p:grpSpPr>
          <a:xfrm>
            <a:off x="2445121" y="3351925"/>
            <a:ext cx="2502336" cy="1087313"/>
            <a:chOff x="2993291" y="3260228"/>
            <a:chExt cx="2502336" cy="1087313"/>
          </a:xfrm>
        </p:grpSpPr>
        <p:sp>
          <p:nvSpPr>
            <p:cNvPr id="23" name="TextBox 22"/>
            <p:cNvSpPr txBox="1"/>
            <p:nvPr/>
          </p:nvSpPr>
          <p:spPr>
            <a:xfrm>
              <a:off x="2993291" y="4162875"/>
              <a:ext cx="250233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it-IT" sz="1200" b="1" i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SELF-EMPLOYED</a:t>
              </a:r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3026861" y="3260228"/>
              <a:ext cx="2404013" cy="887973"/>
              <a:chOff x="3026861" y="3260228"/>
              <a:chExt cx="2404013" cy="887973"/>
            </a:xfrm>
          </p:grpSpPr>
          <p:pic>
            <p:nvPicPr>
              <p:cNvPr id="1715202" name="Picture 2" descr="http://www.clipartbest.com/cliparts/RcG/G5x/RcGG5xp7i.png"/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8632" t="3828" r="25423" b="3939"/>
              <a:stretch/>
            </p:blipFill>
            <p:spPr bwMode="auto">
              <a:xfrm>
                <a:off x="4239664" y="3307313"/>
                <a:ext cx="505368" cy="8331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15214" name="Picture 14" descr="http://asci-india.com/images/occupation/Agri%20Entrepreneurship%20&amp;%20Rural%20Enterprises.png"/>
              <p:cNvPicPr>
                <a:picLocks noChangeAspect="1" noChangeArrowheads="1"/>
              </p:cNvPicPr>
              <p:nvPr/>
            </p:nvPicPr>
            <p:blipFill rotWithShape="1"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4379" t="13784" r="18945" b="8804"/>
              <a:stretch/>
            </p:blipFill>
            <p:spPr bwMode="auto">
              <a:xfrm>
                <a:off x="3026861" y="3337987"/>
                <a:ext cx="1068795" cy="8102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15216" name="Picture 16" descr="Risultati immagini per lawyer icon"/>
              <p:cNvPicPr>
                <a:picLocks noChangeAspect="1" noChangeArrowheads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247" r="22832"/>
              <a:stretch/>
            </p:blipFill>
            <p:spPr bwMode="auto">
              <a:xfrm>
                <a:off x="4967841" y="3260228"/>
                <a:ext cx="463033" cy="8749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cxnSp>
        <p:nvCxnSpPr>
          <p:cNvPr id="1715215" name="Straight Arrow Connector 1715214"/>
          <p:cNvCxnSpPr>
            <a:endCxn id="63" idx="1"/>
          </p:cNvCxnSpPr>
          <p:nvPr/>
        </p:nvCxnSpPr>
        <p:spPr>
          <a:xfrm flipV="1">
            <a:off x="4985475" y="3885424"/>
            <a:ext cx="1436074" cy="0"/>
          </a:xfrm>
          <a:prstGeom prst="straightConnector1">
            <a:avLst/>
          </a:prstGeom>
          <a:ln w="12700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31740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344489" y="4946068"/>
            <a:ext cx="9217152" cy="1423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Aft>
                <a:spcPts val="300"/>
              </a:spcAft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nts can use different channels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ly INPS the necessary data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ded to calculate ISEE that cannot be found in Revenue Agency’s or INPS databases: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sted web application available on the INPS website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mediaries and tax assistance centers</a:t>
            </a:r>
          </a:p>
          <a:p>
            <a:pPr marL="285750" indent="-285750" algn="just">
              <a:buClr>
                <a:schemeClr val="tx2"/>
              </a:buClr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icipalities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23"/>
          <p:cNvSpPr txBox="1">
            <a:spLocks noChangeArrowheads="1"/>
          </p:cNvSpPr>
          <p:nvPr/>
        </p:nvSpPr>
        <p:spPr bwMode="auto">
          <a:xfrm>
            <a:off x="330200" y="897074"/>
            <a:ext cx="9231313" cy="36005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300"/>
              </a:spcAft>
              <a:buSzPct val="80000"/>
              <a:defRPr/>
            </a:pP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ollowing figure describes the ISEE request and calculation flow:</a:t>
            </a:r>
            <a:endParaRPr lang="en-US" sz="2000" i="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44364" y="175566"/>
            <a:ext cx="705697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in details</a:t>
            </a:r>
            <a:endParaRPr lang="en-US" alt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ISEE request and calculation flow</a:t>
            </a:r>
            <a:endParaRPr lang="it-IT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riangolo isoscele 16"/>
          <p:cNvSpPr/>
          <p:nvPr/>
        </p:nvSpPr>
        <p:spPr>
          <a:xfrm rot="10800000">
            <a:off x="2986166" y="4485268"/>
            <a:ext cx="3933669" cy="180000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4" descr="C:\Users\giuseppe.parente\AppData\Local\Microsoft\Windows\Temporary Internet Files\Content.IE5\Z6ST9GPL\MC900432623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241234" y="2285656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529" y="3193048"/>
            <a:ext cx="612000" cy="612000"/>
          </a:xfrm>
          <a:prstGeom prst="rect">
            <a:avLst/>
          </a:prstGeom>
        </p:spPr>
      </p:pic>
      <p:pic>
        <p:nvPicPr>
          <p:cNvPr id="14" name="Picture 2" descr="C:\Users\giuseppe.parente\AppData\Local\Microsoft\Windows\Temporary Internet Files\Content.IE5\H5MUTRNN\MC900432657[1]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8470" y="3193048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C:\Users\giuseppe.parente\AppData\Local\Microsoft\Windows\Temporary Internet Files\Content.IE5\4BJ7GADN\MC900432626[1].png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30553" y="3193048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C:\Users\giuseppe.parente\AppData\Local\Microsoft\Windows\Temporary Internet Files\Content.IE5\L9EU4F2O\MC900434888[1]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64" y="2285656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342610" y="1603274"/>
            <a:ext cx="1836000" cy="24732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BENEFITS APPLICANTS</a:t>
            </a:r>
          </a:p>
        </p:txBody>
      </p:sp>
      <p:pic>
        <p:nvPicPr>
          <p:cNvPr id="24" name="Picture 1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000301" y="1642693"/>
            <a:ext cx="857243" cy="72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0" name="Rectangle 29"/>
          <p:cNvSpPr/>
          <p:nvPr/>
        </p:nvSpPr>
        <p:spPr>
          <a:xfrm>
            <a:off x="4040277" y="1603274"/>
            <a:ext cx="1836000" cy="247320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</a:t>
            </a:r>
          </a:p>
          <a:p>
            <a:pPr algn="ctr"/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BASE</a:t>
            </a:r>
          </a:p>
        </p:txBody>
      </p:sp>
      <p:pic>
        <p:nvPicPr>
          <p:cNvPr id="36" name="Picture 3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60894" y="2825754"/>
            <a:ext cx="994767" cy="747266"/>
          </a:xfrm>
          <a:prstGeom prst="rect">
            <a:avLst/>
          </a:prstGeom>
        </p:spPr>
      </p:pic>
      <p:sp>
        <p:nvSpPr>
          <p:cNvPr id="33" name="Rectangle 32"/>
          <p:cNvSpPr/>
          <p:nvPr/>
        </p:nvSpPr>
        <p:spPr>
          <a:xfrm>
            <a:off x="5179081" y="2827802"/>
            <a:ext cx="216000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4" name="Rectangle 33"/>
          <p:cNvSpPr/>
          <p:nvPr/>
        </p:nvSpPr>
        <p:spPr>
          <a:xfrm>
            <a:off x="4797257" y="2827802"/>
            <a:ext cx="216000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38" name="Picture 4" descr="http://www.dagospia.com/img/foto/05-2012/logo-agenzia-delle-164554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2" t="10057" r="4507" b="14449"/>
          <a:stretch/>
        </p:blipFill>
        <p:spPr bwMode="auto">
          <a:xfrm>
            <a:off x="7808282" y="1682886"/>
            <a:ext cx="1160055" cy="4432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38"/>
          <p:cNvSpPr/>
          <p:nvPr/>
        </p:nvSpPr>
        <p:spPr>
          <a:xfrm>
            <a:off x="7737943" y="1603274"/>
            <a:ext cx="1836000" cy="247320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marL="85725" lvl="1" algn="ctr">
              <a:lnSpc>
                <a:spcPct val="80000"/>
              </a:lnSpc>
              <a:spcAft>
                <a:spcPts val="0"/>
              </a:spcAft>
              <a:buClr>
                <a:srgbClr val="FFD200"/>
              </a:buClr>
              <a:buSzPct val="80000"/>
            </a:pPr>
            <a:r>
              <a:rPr lang="en-GB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VENUE AGENCY DATABASE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325405" y="2468161"/>
            <a:ext cx="661076" cy="661076"/>
          </a:xfrm>
          <a:prstGeom prst="rect">
            <a:avLst/>
          </a:prstGeom>
        </p:spPr>
      </p:pic>
      <p:cxnSp>
        <p:nvCxnSpPr>
          <p:cNvPr id="49" name="Elbow Connector 48"/>
          <p:cNvCxnSpPr>
            <a:stCxn id="51" idx="3"/>
            <a:endCxn id="34" idx="0"/>
          </p:cNvCxnSpPr>
          <p:nvPr/>
        </p:nvCxnSpPr>
        <p:spPr>
          <a:xfrm>
            <a:off x="2178610" y="2654489"/>
            <a:ext cx="2726647" cy="173313"/>
          </a:xfrm>
          <a:prstGeom prst="bentConnector2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/>
        </p:nvSpPr>
        <p:spPr>
          <a:xfrm>
            <a:off x="2448501" y="2276840"/>
            <a:ext cx="1321884" cy="73866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ssets and household data necessary to calculate ISEE</a:t>
            </a:r>
          </a:p>
        </p:txBody>
      </p:sp>
      <p:sp>
        <p:nvSpPr>
          <p:cNvPr id="51" name="Rectangle 50"/>
          <p:cNvSpPr/>
          <p:nvPr/>
        </p:nvSpPr>
        <p:spPr>
          <a:xfrm>
            <a:off x="1962610" y="2546489"/>
            <a:ext cx="216000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cxnSp>
        <p:nvCxnSpPr>
          <p:cNvPr id="53" name="Elbow Connector 52"/>
          <p:cNvCxnSpPr>
            <a:stCxn id="56" idx="1"/>
            <a:endCxn id="33" idx="0"/>
          </p:cNvCxnSpPr>
          <p:nvPr/>
        </p:nvCxnSpPr>
        <p:spPr>
          <a:xfrm rot="10800000" flipV="1">
            <a:off x="5287082" y="2654488"/>
            <a:ext cx="3050419" cy="173313"/>
          </a:xfrm>
          <a:prstGeom prst="bentConnector2">
            <a:avLst/>
          </a:prstGeom>
          <a:ln w="28575">
            <a:solidFill>
              <a:srgbClr val="FFC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6197155" y="2369173"/>
            <a:ext cx="1219910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come data necessary to calculate ISEE</a:t>
            </a:r>
          </a:p>
        </p:txBody>
      </p:sp>
      <p:sp>
        <p:nvSpPr>
          <p:cNvPr id="56" name="Rectangle 55"/>
          <p:cNvSpPr/>
          <p:nvPr/>
        </p:nvSpPr>
        <p:spPr>
          <a:xfrm>
            <a:off x="8337500" y="2546489"/>
            <a:ext cx="216000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cxnSp>
        <p:nvCxnSpPr>
          <p:cNvPr id="59" name="Elbow Connector 58"/>
          <p:cNvCxnSpPr>
            <a:stCxn id="30" idx="2"/>
            <a:endCxn id="62" idx="3"/>
          </p:cNvCxnSpPr>
          <p:nvPr/>
        </p:nvCxnSpPr>
        <p:spPr>
          <a:xfrm rot="5400000" flipH="1">
            <a:off x="3226712" y="2344909"/>
            <a:ext cx="683464" cy="2779667"/>
          </a:xfrm>
          <a:prstGeom prst="bentConnector4">
            <a:avLst>
              <a:gd name="adj1" fmla="val -33447"/>
              <a:gd name="adj2" fmla="val 66513"/>
            </a:avLst>
          </a:prstGeom>
          <a:ln w="28575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2712026" y="3212970"/>
            <a:ext cx="809289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EE</a:t>
            </a:r>
          </a:p>
        </p:txBody>
      </p:sp>
      <p:sp>
        <p:nvSpPr>
          <p:cNvPr id="62" name="Rectangle 61"/>
          <p:cNvSpPr/>
          <p:nvPr/>
        </p:nvSpPr>
        <p:spPr>
          <a:xfrm>
            <a:off x="1962610" y="3285010"/>
            <a:ext cx="216000" cy="216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5129122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Rectangle 83"/>
          <p:cNvSpPr/>
          <p:nvPr/>
        </p:nvSpPr>
        <p:spPr>
          <a:xfrm>
            <a:off x="3205476" y="6559174"/>
            <a:ext cx="792000" cy="249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w out</a:t>
            </a:r>
          </a:p>
        </p:txBody>
      </p:sp>
      <p:sp>
        <p:nvSpPr>
          <p:cNvPr id="83" name="Rectangle 82"/>
          <p:cNvSpPr/>
          <p:nvPr/>
        </p:nvSpPr>
        <p:spPr>
          <a:xfrm>
            <a:off x="1611833" y="6547451"/>
            <a:ext cx="792000" cy="266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it-IT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ow in</a:t>
            </a:r>
          </a:p>
        </p:txBody>
      </p:sp>
      <p:sp>
        <p:nvSpPr>
          <p:cNvPr id="2" name="Title 1"/>
          <p:cNvSpPr txBox="1">
            <a:spLocks/>
          </p:cNvSpPr>
          <p:nvPr/>
        </p:nvSpPr>
        <p:spPr>
          <a:xfrm>
            <a:off x="344364" y="175566"/>
            <a:ext cx="705697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in details</a:t>
            </a:r>
            <a:endParaRPr lang="en-US" altLang="it-IT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ISEE release in ordinary way</a:t>
            </a:r>
            <a:endParaRPr lang="it-IT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330200" y="897074"/>
            <a:ext cx="9231313" cy="51564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300"/>
              </a:spcAft>
              <a:buSzPct val="80000"/>
              <a:defRPr/>
            </a:pPr>
            <a:r>
              <a:rPr lang="en-US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ollowing picture shows the complete </a:t>
            </a:r>
            <a:r>
              <a:rPr lang="en-US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 flow for the ISEE calculation release by INPS in ordinary way</a:t>
            </a:r>
            <a:r>
              <a:rPr lang="en-US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INPS must release the ISEE calculation to applicant citizens within 10 working days from the request</a:t>
            </a:r>
            <a:endParaRPr lang="en-US" i="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2463405" y="4907300"/>
            <a:ext cx="1356289" cy="315323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en-US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MEDIARIES</a:t>
            </a:r>
            <a:endParaRPr lang="it-IT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4928647" y="2873458"/>
            <a:ext cx="288113" cy="5077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5" name="Straight Arrow Connector 44"/>
          <p:cNvCxnSpPr>
            <a:stCxn id="51" idx="0"/>
            <a:endCxn id="59" idx="2"/>
          </p:cNvCxnSpPr>
          <p:nvPr/>
        </p:nvCxnSpPr>
        <p:spPr>
          <a:xfrm flipH="1" flipV="1">
            <a:off x="1446496" y="4415366"/>
            <a:ext cx="83864" cy="1020188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46" name="Straight Arrow Connector 45"/>
          <p:cNvCxnSpPr>
            <a:stCxn id="51" idx="0"/>
            <a:endCxn id="66" idx="2"/>
          </p:cNvCxnSpPr>
          <p:nvPr/>
        </p:nvCxnSpPr>
        <p:spPr>
          <a:xfrm flipV="1">
            <a:off x="1530360" y="4661079"/>
            <a:ext cx="1312923" cy="774475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47" name="Elbow Connector 46"/>
          <p:cNvCxnSpPr>
            <a:stCxn id="43" idx="2"/>
            <a:endCxn id="51" idx="3"/>
          </p:cNvCxnSpPr>
          <p:nvPr/>
        </p:nvCxnSpPr>
        <p:spPr>
          <a:xfrm rot="5400000">
            <a:off x="2229490" y="4829493"/>
            <a:ext cx="518931" cy="1305190"/>
          </a:xfrm>
          <a:prstGeom prst="bentConnector2">
            <a:avLst/>
          </a:prstGeom>
          <a:noFill/>
          <a:ln w="28575" cap="flat" cmpd="sng" algn="ctr">
            <a:solidFill>
              <a:srgbClr val="C00000"/>
            </a:solidFill>
            <a:prstDash val="sysDot"/>
            <a:tailEnd type="arrow"/>
          </a:ln>
          <a:effectLst/>
        </p:spPr>
      </p:cxnSp>
      <p:cxnSp>
        <p:nvCxnSpPr>
          <p:cNvPr id="48" name="Elbow Connector 47"/>
          <p:cNvCxnSpPr>
            <a:stCxn id="59" idx="0"/>
            <a:endCxn id="62" idx="2"/>
          </p:cNvCxnSpPr>
          <p:nvPr/>
        </p:nvCxnSpPr>
        <p:spPr>
          <a:xfrm rot="5400000" flipH="1" flipV="1">
            <a:off x="2368542" y="1630111"/>
            <a:ext cx="1271787" cy="3115878"/>
          </a:xfrm>
          <a:prstGeom prst="bentConnector2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49" name="Elbow Connector 48"/>
          <p:cNvCxnSpPr>
            <a:stCxn id="66" idx="0"/>
            <a:endCxn id="62" idx="2"/>
          </p:cNvCxnSpPr>
          <p:nvPr/>
        </p:nvCxnSpPr>
        <p:spPr>
          <a:xfrm rot="5400000" flipH="1" flipV="1">
            <a:off x="2950500" y="2743206"/>
            <a:ext cx="1802923" cy="1420825"/>
          </a:xfrm>
          <a:prstGeom prst="bentConnector2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cxnSp>
        <p:nvCxnSpPr>
          <p:cNvPr id="50" name="Elbow Connector 49"/>
          <p:cNvCxnSpPr>
            <a:stCxn id="44" idx="2"/>
            <a:endCxn id="51" idx="3"/>
          </p:cNvCxnSpPr>
          <p:nvPr/>
        </p:nvCxnSpPr>
        <p:spPr>
          <a:xfrm rot="5400000">
            <a:off x="2274351" y="2943200"/>
            <a:ext cx="2360363" cy="3236344"/>
          </a:xfrm>
          <a:prstGeom prst="bentConnector2">
            <a:avLst/>
          </a:prstGeom>
          <a:noFill/>
          <a:ln w="28575" cap="flat" cmpd="sng" algn="ctr">
            <a:solidFill>
              <a:srgbClr val="C00000"/>
            </a:solidFill>
            <a:prstDash val="sysDot"/>
            <a:tailEnd type="arrow"/>
          </a:ln>
          <a:effectLst/>
        </p:spPr>
      </p:cxnSp>
      <p:pic>
        <p:nvPicPr>
          <p:cNvPr id="51" name="Picture 4" descr="C:\Users\giuseppe.parente\Downloads\MC90043262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4360" y="5435554"/>
            <a:ext cx="612000" cy="61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TextBox 51"/>
          <p:cNvSpPr txBox="1"/>
          <p:nvPr/>
        </p:nvSpPr>
        <p:spPr>
          <a:xfrm>
            <a:off x="4095600" y="4199337"/>
            <a:ext cx="1969271" cy="92333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90487" algn="ctr" fontAlgn="auto">
              <a:spcBef>
                <a:spcPts val="0"/>
              </a:spcBef>
              <a:spcAft>
                <a:spcPts val="200"/>
              </a:spcAft>
              <a:buClr>
                <a:srgbClr val="008000"/>
              </a:buClr>
              <a:buSzPct val="100000"/>
              <a:defRPr/>
            </a:pP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PS calculates the ISEE and releases it to citizen* </a:t>
            </a:r>
            <a:r>
              <a:rPr lang="it-IT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in 2 working day </a:t>
            </a: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data acquisition from the Revenue Agency, 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188847" y="3441614"/>
            <a:ext cx="1762733" cy="451850"/>
          </a:xfrm>
          <a:prstGeom prst="rect">
            <a:avLst/>
          </a:prstGeom>
          <a:solidFill>
            <a:schemeClr val="bg1"/>
          </a:solidFill>
        </p:spPr>
        <p:txBody>
          <a:bodyPr wrap="square" lIns="0" tIns="36000" rIns="0" rtlCol="0">
            <a:spAutoFit/>
          </a:bodyPr>
          <a:lstStyle/>
          <a:p>
            <a:pPr marL="90487" algn="ctr">
              <a:spcAft>
                <a:spcPts val="300"/>
              </a:spcAft>
              <a:buClr>
                <a:srgbClr val="008000"/>
              </a:buClr>
              <a:buSzPct val="100000"/>
              <a:defRPr/>
            </a:pP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SU data trasmission </a:t>
            </a:r>
            <a:r>
              <a:rPr lang="it-IT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in 4 working days 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1014456" y="6047873"/>
            <a:ext cx="1044000" cy="233397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ctr">
              <a:lnSpc>
                <a:spcPts val="1100"/>
              </a:lnSpc>
            </a:pPr>
            <a:r>
              <a:rPr lang="it-IT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TIZEN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787121" y="2975167"/>
            <a:ext cx="1318750" cy="396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90487" algn="ctr">
              <a:spcAft>
                <a:spcPts val="300"/>
              </a:spcAft>
              <a:buClr>
                <a:srgbClr val="008000"/>
              </a:buClr>
              <a:buSzPct val="100000"/>
              <a:defRPr/>
            </a:pP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SU submit on INPS website</a:t>
            </a:r>
          </a:p>
        </p:txBody>
      </p:sp>
      <p:grpSp>
        <p:nvGrpSpPr>
          <p:cNvPr id="56" name="Group 55"/>
          <p:cNvGrpSpPr/>
          <p:nvPr/>
        </p:nvGrpSpPr>
        <p:grpSpPr>
          <a:xfrm>
            <a:off x="1019277" y="3823943"/>
            <a:ext cx="854437" cy="591423"/>
            <a:chOff x="316583" y="2636912"/>
            <a:chExt cx="1056001" cy="864000"/>
          </a:xfrm>
        </p:grpSpPr>
        <p:grpSp>
          <p:nvGrpSpPr>
            <p:cNvPr id="57" name="Group 56"/>
            <p:cNvGrpSpPr>
              <a:grpSpLocks noChangeAspect="1"/>
            </p:cNvGrpSpPr>
            <p:nvPr/>
          </p:nvGrpSpPr>
          <p:grpSpPr>
            <a:xfrm>
              <a:off x="316583" y="2636912"/>
              <a:ext cx="1056001" cy="864000"/>
              <a:chOff x="1186596" y="2735107"/>
              <a:chExt cx="936104" cy="765903"/>
            </a:xfrm>
          </p:grpSpPr>
          <p:pic>
            <p:nvPicPr>
              <p:cNvPr id="59" name="Picture 4" descr="amore,avatar,computer,coppie,cuori,emozioni,frequentarsi,incontri online,incontri su Internet,internet,iStockphoto,romantici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 l="20937" t="18568" r="20911" b="18626"/>
              <a:stretch>
                <a:fillRect/>
              </a:stretch>
            </p:blipFill>
            <p:spPr bwMode="auto">
              <a:xfrm>
                <a:off x="1186596" y="2735107"/>
                <a:ext cx="936104" cy="76590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60" name="TextBox 59"/>
              <p:cNvSpPr txBox="1">
                <a:spLocks noChangeAspect="1"/>
              </p:cNvSpPr>
              <p:nvPr/>
            </p:nvSpPr>
            <p:spPr>
              <a:xfrm rot="180000">
                <a:off x="1308283" y="2826698"/>
                <a:ext cx="683921" cy="45000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lIns="0" tIns="0" rIns="0" bIns="0" rtlCol="0" anchor="ctr">
                <a:noAutofit/>
              </a:bodyPr>
              <a:lstStyle/>
              <a:p>
                <a:pPr algn="ctr"/>
                <a:endParaRPr lang="it-IT" sz="900" b="1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58" name="Oval 57"/>
            <p:cNvSpPr>
              <a:spLocks/>
            </p:cNvSpPr>
            <p:nvPr/>
          </p:nvSpPr>
          <p:spPr>
            <a:xfrm>
              <a:off x="642624" y="2784600"/>
              <a:ext cx="360000" cy="360000"/>
            </a:xfrm>
            <a:prstGeom prst="ellipse">
              <a:avLst/>
            </a:prstGeom>
            <a:blipFill dpi="0" rotWithShape="1">
              <a:blip r:embed="rId5"/>
              <a:srcRect/>
              <a:stretch>
                <a:fillRect/>
              </a:stretch>
            </a:blip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1" name="TextBox 60"/>
          <p:cNvSpPr txBox="1"/>
          <p:nvPr/>
        </p:nvSpPr>
        <p:spPr>
          <a:xfrm rot="628230">
            <a:off x="1158730" y="4955261"/>
            <a:ext cx="1049479" cy="267184"/>
          </a:xfrm>
          <a:prstGeom prst="rect">
            <a:avLst/>
          </a:prstGeom>
          <a:solidFill>
            <a:schemeClr val="bg1"/>
          </a:solidFill>
        </p:spPr>
        <p:txBody>
          <a:bodyPr wrap="square" lIns="0" tIns="36000" rIns="0" rtlCol="0">
            <a:spAutoFit/>
          </a:bodyPr>
          <a:lstStyle/>
          <a:p>
            <a:pPr marL="90487" algn="ctr">
              <a:spcAft>
                <a:spcPts val="300"/>
              </a:spcAft>
              <a:buClr>
                <a:srgbClr val="008000"/>
              </a:buClr>
              <a:buSzPct val="100000"/>
              <a:defRPr/>
            </a:pPr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ely</a:t>
            </a:r>
          </a:p>
        </p:txBody>
      </p:sp>
      <p:sp>
        <p:nvSpPr>
          <p:cNvPr id="62" name="Oval 61"/>
          <p:cNvSpPr>
            <a:spLocks/>
          </p:cNvSpPr>
          <p:nvPr/>
        </p:nvSpPr>
        <p:spPr>
          <a:xfrm>
            <a:off x="4562374" y="2048180"/>
            <a:ext cx="1008000" cy="1007952"/>
          </a:xfrm>
          <a:prstGeom prst="ellipse">
            <a:avLst/>
          </a:prstGeom>
          <a:blipFill dpi="0" rotWithShape="1">
            <a:blip r:embed="rId5"/>
            <a:srcRect/>
            <a:stretch>
              <a:fillRect/>
            </a:stretch>
          </a:blipFill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3" name="Picture 2" descr="http://www.rw-designer.com/icon-image/7507-256x256x3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6449" y="2759156"/>
            <a:ext cx="720080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4" name="Straight Arrow Connector 63"/>
          <p:cNvCxnSpPr/>
          <p:nvPr/>
        </p:nvCxnSpPr>
        <p:spPr>
          <a:xfrm>
            <a:off x="962329" y="1742193"/>
            <a:ext cx="8136000" cy="22291"/>
          </a:xfrm>
          <a:prstGeom prst="straightConnector1">
            <a:avLst/>
          </a:prstGeom>
          <a:noFill/>
          <a:ln w="19050" cap="flat" cmpd="sng" algn="ctr">
            <a:solidFill>
              <a:srgbClr val="0000FF"/>
            </a:solidFill>
            <a:prstDash val="solid"/>
            <a:headEnd type="diamond" w="med" len="med"/>
            <a:tailEnd type="diamond" w="med" len="med"/>
          </a:ln>
          <a:effectLst/>
        </p:spPr>
      </p:cxnSp>
      <p:sp>
        <p:nvSpPr>
          <p:cNvPr id="65" name="TextBox 64"/>
          <p:cNvSpPr txBox="1"/>
          <p:nvPr/>
        </p:nvSpPr>
        <p:spPr>
          <a:xfrm>
            <a:off x="2745768" y="1595381"/>
            <a:ext cx="4569123" cy="297962"/>
          </a:xfrm>
          <a:prstGeom prst="rect">
            <a:avLst/>
          </a:prstGeom>
          <a:solidFill>
            <a:schemeClr val="bg1"/>
          </a:solidFill>
        </p:spPr>
        <p:txBody>
          <a:bodyPr wrap="square" lIns="0" tIns="36000" rIns="0" rtlCol="0">
            <a:spAutoFit/>
          </a:bodyPr>
          <a:lstStyle/>
          <a:p>
            <a:pPr marL="90487" algn="ctr">
              <a:spcAft>
                <a:spcPts val="300"/>
              </a:spcAft>
              <a:buClr>
                <a:srgbClr val="008000"/>
              </a:buClr>
              <a:buSzPct val="100000"/>
              <a:defRPr/>
            </a:pPr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WORKING DAYS FROM DSU SUBMISSION</a:t>
            </a:r>
            <a:endParaRPr lang="it-IT" sz="1400" b="1" u="sng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6" name="Picture 2" descr="Visualizza dettagli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843283" y="4355079"/>
            <a:ext cx="596532" cy="612000"/>
          </a:xfrm>
          <a:prstGeom prst="ellipse">
            <a:avLst/>
          </a:prstGeom>
          <a:noFill/>
          <a:ln>
            <a:noFill/>
          </a:ln>
        </p:spPr>
      </p:pic>
      <p:cxnSp>
        <p:nvCxnSpPr>
          <p:cNvPr id="67" name="Straight Arrow Connector 66"/>
          <p:cNvCxnSpPr>
            <a:stCxn id="52" idx="1"/>
            <a:endCxn id="66" idx="6"/>
          </p:cNvCxnSpPr>
          <p:nvPr/>
        </p:nvCxnSpPr>
        <p:spPr>
          <a:xfrm flipH="1">
            <a:off x="3439815" y="4661002"/>
            <a:ext cx="655785" cy="77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ysDot"/>
            <a:tailEnd type="arrow"/>
          </a:ln>
          <a:effectLst/>
        </p:spPr>
      </p:cxnSp>
      <p:pic>
        <p:nvPicPr>
          <p:cNvPr id="69" name="Picture 6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0667" y="2119826"/>
            <a:ext cx="1132427" cy="864661"/>
          </a:xfrm>
          <a:prstGeom prst="rect">
            <a:avLst/>
          </a:prstGeom>
          <a:ln w="19050">
            <a:noFill/>
          </a:ln>
        </p:spPr>
      </p:pic>
      <p:sp>
        <p:nvSpPr>
          <p:cNvPr id="70" name="Oval 69"/>
          <p:cNvSpPr/>
          <p:nvPr/>
        </p:nvSpPr>
        <p:spPr>
          <a:xfrm>
            <a:off x="7714880" y="1850156"/>
            <a:ext cx="1404000" cy="1404000"/>
          </a:xfrm>
          <a:prstGeom prst="ellipse">
            <a:avLst/>
          </a:prstGeom>
          <a:noFill/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1" name="Straight Arrow Connector 70"/>
          <p:cNvCxnSpPr/>
          <p:nvPr/>
        </p:nvCxnSpPr>
        <p:spPr>
          <a:xfrm>
            <a:off x="5570374" y="2552156"/>
            <a:ext cx="2144506" cy="0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ysDot"/>
            <a:tailEnd type="arrow"/>
          </a:ln>
          <a:effectLst/>
        </p:spPr>
      </p:cxnSp>
      <p:sp>
        <p:nvSpPr>
          <p:cNvPr id="72" name="TextBox 71"/>
          <p:cNvSpPr txBox="1"/>
          <p:nvPr/>
        </p:nvSpPr>
        <p:spPr>
          <a:xfrm>
            <a:off x="5983252" y="2354006"/>
            <a:ext cx="1318750" cy="39600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90487" algn="ctr">
              <a:spcAft>
                <a:spcPts val="200"/>
              </a:spcAft>
              <a:buClr>
                <a:srgbClr val="008000"/>
              </a:buClr>
              <a:buSzPct val="100000"/>
            </a:pP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request</a:t>
            </a:r>
          </a:p>
        </p:txBody>
      </p:sp>
      <p:cxnSp>
        <p:nvCxnSpPr>
          <p:cNvPr id="73" name="Elbow Connector 72"/>
          <p:cNvCxnSpPr>
            <a:stCxn id="70" idx="4"/>
            <a:endCxn id="62" idx="5"/>
          </p:cNvCxnSpPr>
          <p:nvPr/>
        </p:nvCxnSpPr>
        <p:spPr>
          <a:xfrm rot="5400000" flipH="1">
            <a:off x="6747000" y="1584277"/>
            <a:ext cx="345635" cy="2994124"/>
          </a:xfrm>
          <a:prstGeom prst="bentConnector3">
            <a:avLst>
              <a:gd name="adj1" fmla="val -113624"/>
            </a:avLst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sp>
        <p:nvSpPr>
          <p:cNvPr id="74" name="TextBox 73"/>
          <p:cNvSpPr txBox="1"/>
          <p:nvPr/>
        </p:nvSpPr>
        <p:spPr>
          <a:xfrm>
            <a:off x="5884127" y="3236417"/>
            <a:ext cx="1777477" cy="80542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ctr">
            <a:noAutofit/>
          </a:bodyPr>
          <a:lstStyle/>
          <a:p>
            <a:pPr marL="90487" algn="ctr">
              <a:spcAft>
                <a:spcPts val="200"/>
              </a:spcAft>
              <a:buClr>
                <a:srgbClr val="008000"/>
              </a:buClr>
              <a:buSzPct val="100000"/>
            </a:pP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cquisition </a:t>
            </a:r>
            <a:r>
              <a:rPr lang="it-IT" sz="12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in 4 working days</a:t>
            </a:r>
            <a:r>
              <a: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DSU receipt and request to the Revenue Agency</a:t>
            </a:r>
          </a:p>
        </p:txBody>
      </p:sp>
      <p:sp>
        <p:nvSpPr>
          <p:cNvPr id="79" name="Rectangle 78"/>
          <p:cNvSpPr/>
          <p:nvPr/>
        </p:nvSpPr>
        <p:spPr>
          <a:xfrm>
            <a:off x="776421" y="6463432"/>
            <a:ext cx="3319180" cy="326592"/>
          </a:xfrm>
          <a:prstGeom prst="rect">
            <a:avLst/>
          </a:prstGeom>
          <a:noFill/>
          <a:ln w="3175">
            <a:solidFill>
              <a:srgbClr val="00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t-IT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855749" y="6419457"/>
            <a:ext cx="781360" cy="1744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it-IT" sz="11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end</a:t>
            </a:r>
          </a:p>
        </p:txBody>
      </p:sp>
      <p:cxnSp>
        <p:nvCxnSpPr>
          <p:cNvPr id="81" name="Straight Arrow Connector 80"/>
          <p:cNvCxnSpPr/>
          <p:nvPr/>
        </p:nvCxnSpPr>
        <p:spPr>
          <a:xfrm>
            <a:off x="2576670" y="6683965"/>
            <a:ext cx="684076" cy="0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ysDot"/>
            <a:tailEnd type="arrow"/>
          </a:ln>
          <a:effectLst/>
        </p:spPr>
      </p:cxnSp>
      <p:cxnSp>
        <p:nvCxnSpPr>
          <p:cNvPr id="82" name="Straight Arrow Connector 81"/>
          <p:cNvCxnSpPr/>
          <p:nvPr/>
        </p:nvCxnSpPr>
        <p:spPr>
          <a:xfrm>
            <a:off x="992444" y="6683965"/>
            <a:ext cx="669057" cy="0"/>
          </a:xfrm>
          <a:prstGeom prst="straightConnector1">
            <a:avLst/>
          </a:prstGeom>
          <a:noFill/>
          <a:ln w="28575" cap="flat" cmpd="sng" algn="ctr">
            <a:solidFill>
              <a:srgbClr val="C00000"/>
            </a:solidFill>
            <a:prstDash val="solid"/>
            <a:tailEnd type="arrow"/>
          </a:ln>
          <a:effectLst/>
        </p:spPr>
      </p:cxnSp>
      <p:sp>
        <p:nvSpPr>
          <p:cNvPr id="85" name="Rectangle 84"/>
          <p:cNvSpPr/>
          <p:nvPr/>
        </p:nvSpPr>
        <p:spPr>
          <a:xfrm>
            <a:off x="5241040" y="5967586"/>
            <a:ext cx="4316400" cy="379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it-IT" sz="11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Via reserved page on INPS website or persons in charge (the intermediaries) depending on the DSU submission modality</a:t>
            </a:r>
          </a:p>
        </p:txBody>
      </p:sp>
    </p:spTree>
    <p:extLst>
      <p:ext uri="{BB962C8B-B14F-4D97-AF65-F5344CB8AC3E}">
        <p14:creationId xmlns:p14="http://schemas.microsoft.com/office/powerpoint/2010/main" val="2319912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686</TotalTime>
  <Words>1259</Words>
  <Application>Microsoft Office PowerPoint</Application>
  <PresentationFormat>A4 (21x29,7 cm)</PresentationFormat>
  <Paragraphs>188</Paragraphs>
  <Slides>13</Slides>
  <Notes>13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7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3</vt:i4>
      </vt:variant>
      <vt:variant>
        <vt:lpstr>Presentazioni personalizzate</vt:lpstr>
      </vt:variant>
      <vt:variant>
        <vt:i4>1</vt:i4>
      </vt:variant>
    </vt:vector>
  </HeadingPairs>
  <TitlesOfParts>
    <vt:vector size="30" baseType="lpstr">
      <vt:lpstr>Arial Unicode MS</vt:lpstr>
      <vt:lpstr>Optane</vt:lpstr>
      <vt:lpstr>宋体</vt:lpstr>
      <vt:lpstr>Arial</vt:lpstr>
      <vt:lpstr>Calibri</vt:lpstr>
      <vt:lpstr>Symbol</vt:lpstr>
      <vt:lpstr>Verdana</vt:lpstr>
      <vt:lpstr>Wingdings</vt:lpstr>
      <vt:lpstr>Office Theme</vt:lpstr>
      <vt:lpstr>EY_Presentation3</vt:lpstr>
      <vt:lpstr>1_EY_Presentation3</vt:lpstr>
      <vt:lpstr>2_EY_Presentation3</vt:lpstr>
      <vt:lpstr>3_EY_Presentation3</vt:lpstr>
      <vt:lpstr>4_EY_Presentation3</vt:lpstr>
      <vt:lpstr>5_EY_Presentation3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useppe Parente</dc:creator>
  <cp:lastModifiedBy>Valentina</cp:lastModifiedBy>
  <cp:revision>394</cp:revision>
  <cp:lastPrinted>2016-09-15T13:47:22Z</cp:lastPrinted>
  <dcterms:created xsi:type="dcterms:W3CDTF">2009-02-10T04:14:03Z</dcterms:created>
  <dcterms:modified xsi:type="dcterms:W3CDTF">2016-10-24T09:29:37Z</dcterms:modified>
</cp:coreProperties>
</file>